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2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36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93" r:id="rId4"/>
    <p:sldMasterId id="2147483660" r:id="rId5"/>
    <p:sldMasterId id="2147483679" r:id="rId6"/>
  </p:sldMasterIdLst>
  <p:notesMasterIdLst>
    <p:notesMasterId r:id="rId19"/>
  </p:notesMasterIdLst>
  <p:handoutMasterIdLst>
    <p:handoutMasterId r:id="rId20"/>
  </p:handoutMasterIdLst>
  <p:sldIdLst>
    <p:sldId id="2147475402" r:id="rId7"/>
    <p:sldId id="2147475602" r:id="rId8"/>
    <p:sldId id="2147475603" r:id="rId9"/>
    <p:sldId id="2147475608" r:id="rId10"/>
    <p:sldId id="2147475604" r:id="rId11"/>
    <p:sldId id="2147475607" r:id="rId12"/>
    <p:sldId id="2147475590" r:id="rId13"/>
    <p:sldId id="2147475591" r:id="rId14"/>
    <p:sldId id="2147475594" r:id="rId15"/>
    <p:sldId id="2147475595" r:id="rId16"/>
    <p:sldId id="2147376067" r:id="rId17"/>
    <p:sldId id="2147475600" r:id="rId18"/>
  </p:sldIdLst>
  <p:sldSz cx="12192000" cy="6858000"/>
  <p:notesSz cx="6797675" cy="9928225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143" userDrawn="1">
          <p15:clr>
            <a:srgbClr val="A4A3A4"/>
          </p15:clr>
        </p15:guide>
        <p15:guide id="3" orient="horz" pos="2523" userDrawn="1">
          <p15:clr>
            <a:srgbClr val="A4A3A4"/>
          </p15:clr>
        </p15:guide>
        <p15:guide id="4" orient="horz" pos="1616" userDrawn="1">
          <p15:clr>
            <a:srgbClr val="A4A3A4"/>
          </p15:clr>
        </p15:guide>
        <p15:guide id="5" orient="horz" pos="595" userDrawn="1">
          <p15:clr>
            <a:srgbClr val="A4A3A4"/>
          </p15:clr>
        </p15:guide>
        <p15:guide id="7" pos="1164" userDrawn="1">
          <p15:clr>
            <a:srgbClr val="A4A3A4"/>
          </p15:clr>
        </p15:guide>
        <p15:guide id="8" pos="393" userDrawn="1">
          <p15:clr>
            <a:srgbClr val="A4A3A4"/>
          </p15:clr>
        </p15:guide>
        <p15:guide id="9" pos="4815" userDrawn="1">
          <p15:clr>
            <a:srgbClr val="A4A3A4"/>
          </p15:clr>
        </p15:guide>
        <p15:guide id="10" pos="5292" userDrawn="1">
          <p15:clr>
            <a:srgbClr val="A4A3A4"/>
          </p15:clr>
        </p15:guide>
        <p15:guide id="11" pos="6040" userDrawn="1">
          <p15:clr>
            <a:srgbClr val="A4A3A4"/>
          </p15:clr>
        </p15:guide>
        <p15:guide id="12" pos="6766" userDrawn="1">
          <p15:clr>
            <a:srgbClr val="A4A3A4"/>
          </p15:clr>
        </p15:guide>
        <p15:guide id="13" pos="7491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164E519-4023-6BC7-A434-0B0C1B8E8D08}" name="Luca Boccaletto" initials="LB" userId="S::Luca.Boccaletto@esa.int::7c6485bb-18b3-450e-84f2-ac576f4fd303" providerId="AD"/>
  <p188:author id="{107FFD1D-8C95-6AFD-7FB5-9DC83DEEBC86}" name="Luca Boccaletto" initials="LB" userId="S::luca.boccaletto@esa.int::7c6485bb-18b3-450e-84f2-ac576f4fd303" providerId="AD"/>
  <p188:author id="{BC7C3228-9E64-789A-D06B-E4F8E17B39D9}" name="Yann Perrot" initials="YP" userId="S::Yann.Perrot@ext.esa.int::4bce1125-8529-4288-a1bb-074a7b843e7c" providerId="AD"/>
  <p188:author id="{35846431-79E3-8D28-8550-B19AF4795B69}" name="Mathieu Luinaud" initials="ML" userId="S::mathieu.luinaud@ext.esa.int::b9a7a4eb-24e7-44e9-9bfb-5467d6c12a90" providerId="AD"/>
  <p188:author id="{4C152C5A-179C-2CE2-C5E4-0DC7F8D954E5}" name="Annika" initials="A" userId="Annika" providerId="None"/>
  <p188:author id="{1AA54A66-8164-24C0-B245-710318398B1B}" name="Albert Zimmermann (DE)" initials="AZ(" userId="Albert Zimmermann (DE)" providerId="None"/>
  <p188:author id="{421DF98F-FDE2-D24F-565E-41DBC93DF6EE}" name="Victoria Carter-Cortez" initials="VCC" userId="S::Victoria.Carter@ext.esa.int::0cabaef2-ac3b-4842-a4c4-aa6e9a137713" providerId="AD"/>
  <p188:author id="{1439E89A-6A78-CA69-5E63-750778EC0C7A}" name="Gabriele Capomasi (IT)" initials="G(" userId="S::gabriele.capomasi@pwc.com::3292f221-3181-47d9-89dd-227f6b8c6730" providerId="AD"/>
  <p188:author id="{DBC0329D-60BD-B38C-F848-28744743536B}" name="Andrea Festa (IT)" initials="AF(" userId="S::andrea.festa@pwc.com::09263bc4-7038-40b0-b232-92c195e9e45e" providerId="AD"/>
  <p188:author id="{DBD1CAE8-338D-8418-CB4A-CAE0EB144513}" name="Haersh Sahita (UK)" initials="HS(" userId="S::haersh.n.sahita@pwc.com::1ee95748-2c78-4eac-88dc-4f6f958122fb" providerId="AD"/>
  <p188:author id="{CEA5A5F4-39A6-DF95-3B3A-66983941F19E}" name="Paolo ARIAUDO (FR)" initials="PA(" userId="S::paolo.x.ariaudo@pwc.com::cf101c52-6ea7-482f-9e6f-330659de0b21" providerId="AD"/>
  <p188:author id="{9FD981F6-D145-9FBB-CDC4-12C0FE5F445A}" name="Gabriele Capomasi" initials="GC" userId="S::gabriele.capomasi@ext.esa.int::5e3df0ce-c957-4fe8-9db7-763770cc525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FFFF"/>
    <a:srgbClr val="F9C2C3"/>
    <a:srgbClr val="F06669"/>
    <a:srgbClr val="335E6E"/>
    <a:srgbClr val="8096A6"/>
    <a:srgbClr val="6DCFF6"/>
    <a:srgbClr val="0A7BA7"/>
    <a:srgbClr val="000000"/>
    <a:srgbClr val="5B7182"/>
    <a:srgbClr val="E7E8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CC28961-FEFB-4123-AC36-3A5DABEB791C}" v="1" dt="2023-10-29T13:09:13.28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5811" autoAdjust="0"/>
  </p:normalViewPr>
  <p:slideViewPr>
    <p:cSldViewPr snapToGrid="0">
      <p:cViewPr varScale="1">
        <p:scale>
          <a:sx n="162" d="100"/>
          <a:sy n="162" d="100"/>
        </p:scale>
        <p:origin x="126" y="180"/>
      </p:cViewPr>
      <p:guideLst>
        <p:guide pos="143"/>
        <p:guide orient="horz" pos="2523"/>
        <p:guide orient="horz" pos="1616"/>
        <p:guide orient="horz" pos="595"/>
        <p:guide pos="1164"/>
        <p:guide pos="393"/>
        <p:guide pos="4815"/>
        <p:guide pos="5292"/>
        <p:guide pos="6040"/>
        <p:guide pos="6766"/>
        <p:guide pos="749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29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viewProps" Target="viewProps.xml"/><Relationship Id="rId28" Type="http://schemas.microsoft.com/office/2018/10/relationships/authors" Target="authors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enri Laur" userId="S::henri.laur@esa.int::1de76689-1548-4409-8933-9bf3b4e73bb0" providerId="AD" clId="Web-{0CC28961-FEFB-4123-AC36-3A5DABEB791C}"/>
    <pc:docChg chg="delSld">
      <pc:chgData name="Henri Laur" userId="S::henri.laur@esa.int::1de76689-1548-4409-8933-9bf3b4e73bb0" providerId="AD" clId="Web-{0CC28961-FEFB-4123-AC36-3A5DABEB791C}" dt="2023-10-29T13:09:13.288" v="0"/>
      <pc:docMkLst>
        <pc:docMk/>
      </pc:docMkLst>
      <pc:sldChg chg="del">
        <pc:chgData name="Henri Laur" userId="S::henri.laur@esa.int::1de76689-1548-4409-8933-9bf3b4e73bb0" providerId="AD" clId="Web-{0CC28961-FEFB-4123-AC36-3A5DABEB791C}" dt="2023-10-29T13:09:13.288" v="0"/>
        <pc:sldMkLst>
          <pc:docMk/>
          <pc:sldMk cId="374469773" sldId="2147376066"/>
        </pc:sldMkLst>
      </pc:sldChg>
    </pc:docChg>
  </pc:docChgLst>
  <pc:docChgLst>
    <pc:chgData name="Michele Castorina" userId="3a973634-f779-40dc-b85a-2426372079b8" providerId="ADAL" clId="{2C911C95-778C-4399-92DB-F50EAB239CE0}"/>
    <pc:docChg chg="undo custSel addSld delSld modSld sldOrd modMainMaster">
      <pc:chgData name="Michele Castorina" userId="3a973634-f779-40dc-b85a-2426372079b8" providerId="ADAL" clId="{2C911C95-778C-4399-92DB-F50EAB239CE0}" dt="2023-10-27T14:05:41.122" v="1606" actId="20577"/>
      <pc:docMkLst>
        <pc:docMk/>
      </pc:docMkLst>
      <pc:sldChg chg="modSp add del mod">
        <pc:chgData name="Michele Castorina" userId="3a973634-f779-40dc-b85a-2426372079b8" providerId="ADAL" clId="{2C911C95-778C-4399-92DB-F50EAB239CE0}" dt="2023-10-27T13:25:13.499" v="1265" actId="47"/>
        <pc:sldMkLst>
          <pc:docMk/>
          <pc:sldMk cId="102238618" sldId="289"/>
        </pc:sldMkLst>
        <pc:spChg chg="mod ord">
          <ac:chgData name="Michele Castorina" userId="3a973634-f779-40dc-b85a-2426372079b8" providerId="ADAL" clId="{2C911C95-778C-4399-92DB-F50EAB239CE0}" dt="2023-10-27T13:23:42.378" v="1258" actId="20577"/>
          <ac:spMkLst>
            <pc:docMk/>
            <pc:sldMk cId="102238618" sldId="289"/>
            <ac:spMk id="2" creationId="{4916A9DD-0B5D-47A8-74F1-D84BD01271B3}"/>
          </ac:spMkLst>
        </pc:spChg>
      </pc:sldChg>
      <pc:sldChg chg="modSp add mod ord modShow">
        <pc:chgData name="Michele Castorina" userId="3a973634-f779-40dc-b85a-2426372079b8" providerId="ADAL" clId="{2C911C95-778C-4399-92DB-F50EAB239CE0}" dt="2023-10-26T15:26:06.019" v="1241" actId="729"/>
        <pc:sldMkLst>
          <pc:docMk/>
          <pc:sldMk cId="374469773" sldId="2147376066"/>
        </pc:sldMkLst>
        <pc:spChg chg="mod">
          <ac:chgData name="Michele Castorina" userId="3a973634-f779-40dc-b85a-2426372079b8" providerId="ADAL" clId="{2C911C95-778C-4399-92DB-F50EAB239CE0}" dt="2023-10-26T15:25:47.092" v="1237" actId="207"/>
          <ac:spMkLst>
            <pc:docMk/>
            <pc:sldMk cId="374469773" sldId="2147376066"/>
            <ac:spMk id="2" creationId="{576A569A-7848-7BB0-0E09-AB91087C7D20}"/>
          </ac:spMkLst>
        </pc:spChg>
      </pc:sldChg>
      <pc:sldChg chg="modSp add mod">
        <pc:chgData name="Michele Castorina" userId="3a973634-f779-40dc-b85a-2426372079b8" providerId="ADAL" clId="{2C911C95-778C-4399-92DB-F50EAB239CE0}" dt="2023-10-26T15:27:06.373" v="1253" actId="207"/>
        <pc:sldMkLst>
          <pc:docMk/>
          <pc:sldMk cId="4075972018" sldId="2147376067"/>
        </pc:sldMkLst>
        <pc:spChg chg="mod">
          <ac:chgData name="Michele Castorina" userId="3a973634-f779-40dc-b85a-2426372079b8" providerId="ADAL" clId="{2C911C95-778C-4399-92DB-F50EAB239CE0}" dt="2023-10-26T15:27:06.373" v="1253" actId="207"/>
          <ac:spMkLst>
            <pc:docMk/>
            <pc:sldMk cId="4075972018" sldId="2147376067"/>
            <ac:spMk id="2" creationId="{CE759A77-64D0-4C5F-4BA1-BD96393E6728}"/>
          </ac:spMkLst>
        </pc:spChg>
      </pc:sldChg>
      <pc:sldChg chg="del">
        <pc:chgData name="Michele Castorina" userId="3a973634-f779-40dc-b85a-2426372079b8" providerId="ADAL" clId="{2C911C95-778C-4399-92DB-F50EAB239CE0}" dt="2023-10-26T13:57:27.008" v="8" actId="47"/>
        <pc:sldMkLst>
          <pc:docMk/>
          <pc:sldMk cId="3291955606" sldId="2147376100"/>
        </pc:sldMkLst>
      </pc:sldChg>
      <pc:sldChg chg="del">
        <pc:chgData name="Michele Castorina" userId="3a973634-f779-40dc-b85a-2426372079b8" providerId="ADAL" clId="{2C911C95-778C-4399-92DB-F50EAB239CE0}" dt="2023-10-26T13:57:26.058" v="7" actId="47"/>
        <pc:sldMkLst>
          <pc:docMk/>
          <pc:sldMk cId="3649148116" sldId="2147376101"/>
        </pc:sldMkLst>
      </pc:sldChg>
      <pc:sldChg chg="addSp delSp modSp mod">
        <pc:chgData name="Michele Castorina" userId="3a973634-f779-40dc-b85a-2426372079b8" providerId="ADAL" clId="{2C911C95-778C-4399-92DB-F50EAB239CE0}" dt="2023-10-26T14:04:14.604" v="79" actId="20577"/>
        <pc:sldMkLst>
          <pc:docMk/>
          <pc:sldMk cId="806324732" sldId="2147475402"/>
        </pc:sldMkLst>
        <pc:spChg chg="mod">
          <ac:chgData name="Michele Castorina" userId="3a973634-f779-40dc-b85a-2426372079b8" providerId="ADAL" clId="{2C911C95-778C-4399-92DB-F50EAB239CE0}" dt="2023-10-26T14:04:14.604" v="79" actId="20577"/>
          <ac:spMkLst>
            <pc:docMk/>
            <pc:sldMk cId="806324732" sldId="2147475402"/>
            <ac:spMk id="4" creationId="{00000000-0000-0000-0000-000000000000}"/>
          </ac:spMkLst>
        </pc:spChg>
        <pc:spChg chg="del">
          <ac:chgData name="Michele Castorina" userId="3a973634-f779-40dc-b85a-2426372079b8" providerId="ADAL" clId="{2C911C95-778C-4399-92DB-F50EAB239CE0}" dt="2023-10-26T14:03:48.884" v="55" actId="478"/>
          <ac:spMkLst>
            <pc:docMk/>
            <pc:sldMk cId="806324732" sldId="2147475402"/>
            <ac:spMk id="5" creationId="{7A057AB7-3391-9D4F-4A4B-AF4218DD724C}"/>
          </ac:spMkLst>
        </pc:spChg>
        <pc:spChg chg="add mod">
          <ac:chgData name="Michele Castorina" userId="3a973634-f779-40dc-b85a-2426372079b8" providerId="ADAL" clId="{2C911C95-778C-4399-92DB-F50EAB239CE0}" dt="2023-10-26T14:04:09.326" v="75" actId="1076"/>
          <ac:spMkLst>
            <pc:docMk/>
            <pc:sldMk cId="806324732" sldId="2147475402"/>
            <ac:spMk id="6" creationId="{835A7A62-11CB-E88E-AA21-09C2D91EE2B5}"/>
          </ac:spMkLst>
        </pc:spChg>
      </pc:sldChg>
      <pc:sldChg chg="del">
        <pc:chgData name="Michele Castorina" userId="3a973634-f779-40dc-b85a-2426372079b8" providerId="ADAL" clId="{2C911C95-778C-4399-92DB-F50EAB239CE0}" dt="2023-10-26T13:56:55.685" v="0" actId="47"/>
        <pc:sldMkLst>
          <pc:docMk/>
          <pc:sldMk cId="653895115" sldId="2147475586"/>
        </pc:sldMkLst>
      </pc:sldChg>
      <pc:sldChg chg="del">
        <pc:chgData name="Michele Castorina" userId="3a973634-f779-40dc-b85a-2426372079b8" providerId="ADAL" clId="{2C911C95-778C-4399-92DB-F50EAB239CE0}" dt="2023-10-26T13:56:59.173" v="1" actId="47"/>
        <pc:sldMkLst>
          <pc:docMk/>
          <pc:sldMk cId="149527143" sldId="2147475587"/>
        </pc:sldMkLst>
      </pc:sldChg>
      <pc:sldChg chg="del">
        <pc:chgData name="Michele Castorina" userId="3a973634-f779-40dc-b85a-2426372079b8" providerId="ADAL" clId="{2C911C95-778C-4399-92DB-F50EAB239CE0}" dt="2023-10-26T13:56:59.788" v="2" actId="47"/>
        <pc:sldMkLst>
          <pc:docMk/>
          <pc:sldMk cId="1315740859" sldId="2147475588"/>
        </pc:sldMkLst>
      </pc:sldChg>
      <pc:sldChg chg="addSp delSp modSp mod ord">
        <pc:chgData name="Michele Castorina" userId="3a973634-f779-40dc-b85a-2426372079b8" providerId="ADAL" clId="{2C911C95-778C-4399-92DB-F50EAB239CE0}" dt="2023-10-26T15:26:17.014" v="1251" actId="20577"/>
        <pc:sldMkLst>
          <pc:docMk/>
          <pc:sldMk cId="3827678117" sldId="2147475590"/>
        </pc:sldMkLst>
        <pc:spChg chg="mod">
          <ac:chgData name="Michele Castorina" userId="3a973634-f779-40dc-b85a-2426372079b8" providerId="ADAL" clId="{2C911C95-778C-4399-92DB-F50EAB239CE0}" dt="2023-10-26T15:06:25.999" v="939" actId="207"/>
          <ac:spMkLst>
            <pc:docMk/>
            <pc:sldMk cId="3827678117" sldId="2147475590"/>
            <ac:spMk id="6" creationId="{81F9198E-ABCF-A7B3-04B9-08139EFF07B8}"/>
          </ac:spMkLst>
        </pc:spChg>
        <pc:spChg chg="mod">
          <ac:chgData name="Michele Castorina" userId="3a973634-f779-40dc-b85a-2426372079b8" providerId="ADAL" clId="{2C911C95-778C-4399-92DB-F50EAB239CE0}" dt="2023-10-26T15:01:21.923" v="788" actId="20577"/>
          <ac:spMkLst>
            <pc:docMk/>
            <pc:sldMk cId="3827678117" sldId="2147475590"/>
            <ac:spMk id="7" creationId="{214674B7-8B93-8682-7046-9CF153C0C8CC}"/>
          </ac:spMkLst>
        </pc:spChg>
        <pc:spChg chg="mod">
          <ac:chgData name="Michele Castorina" userId="3a973634-f779-40dc-b85a-2426372079b8" providerId="ADAL" clId="{2C911C95-778C-4399-92DB-F50EAB239CE0}" dt="2023-10-26T15:06:14.070" v="935" actId="207"/>
          <ac:spMkLst>
            <pc:docMk/>
            <pc:sldMk cId="3827678117" sldId="2147475590"/>
            <ac:spMk id="9" creationId="{E4494DD2-6C64-83CE-304D-06929545B1BA}"/>
          </ac:spMkLst>
        </pc:spChg>
        <pc:spChg chg="mod">
          <ac:chgData name="Michele Castorina" userId="3a973634-f779-40dc-b85a-2426372079b8" providerId="ADAL" clId="{2C911C95-778C-4399-92DB-F50EAB239CE0}" dt="2023-10-26T15:26:17.014" v="1251" actId="20577"/>
          <ac:spMkLst>
            <pc:docMk/>
            <pc:sldMk cId="3827678117" sldId="2147475590"/>
            <ac:spMk id="11" creationId="{3E2900E2-92B9-165B-A192-F0E54B27BAB2}"/>
          </ac:spMkLst>
        </pc:spChg>
        <pc:picChg chg="add del mod">
          <ac:chgData name="Michele Castorina" userId="3a973634-f779-40dc-b85a-2426372079b8" providerId="ADAL" clId="{2C911C95-778C-4399-92DB-F50EAB239CE0}" dt="2023-10-26T15:08:46.292" v="956" actId="21"/>
          <ac:picMkLst>
            <pc:docMk/>
            <pc:sldMk cId="3827678117" sldId="2147475590"/>
            <ac:picMk id="12" creationId="{ABD0E30D-0842-C3F1-BEAF-E957B77FACC2}"/>
          </ac:picMkLst>
        </pc:picChg>
        <pc:picChg chg="add del mod">
          <ac:chgData name="Michele Castorina" userId="3a973634-f779-40dc-b85a-2426372079b8" providerId="ADAL" clId="{2C911C95-778C-4399-92DB-F50EAB239CE0}" dt="2023-10-26T15:09:37.398" v="961" actId="478"/>
          <ac:picMkLst>
            <pc:docMk/>
            <pc:sldMk cId="3827678117" sldId="2147475590"/>
            <ac:picMk id="14" creationId="{57246062-6D24-C9B7-A340-89F7346CFEEE}"/>
          </ac:picMkLst>
        </pc:picChg>
      </pc:sldChg>
      <pc:sldChg chg="addSp delSp modSp mod ord">
        <pc:chgData name="Michele Castorina" userId="3a973634-f779-40dc-b85a-2426372079b8" providerId="ADAL" clId="{2C911C95-778C-4399-92DB-F50EAB239CE0}" dt="2023-10-27T13:43:29.533" v="1552" actId="1076"/>
        <pc:sldMkLst>
          <pc:docMk/>
          <pc:sldMk cId="832525737" sldId="2147475591"/>
        </pc:sldMkLst>
        <pc:spChg chg="add mod">
          <ac:chgData name="Michele Castorina" userId="3a973634-f779-40dc-b85a-2426372079b8" providerId="ADAL" clId="{2C911C95-778C-4399-92DB-F50EAB239CE0}" dt="2023-10-27T13:41:33.098" v="1541" actId="403"/>
          <ac:spMkLst>
            <pc:docMk/>
            <pc:sldMk cId="832525737" sldId="2147475591"/>
            <ac:spMk id="19" creationId="{787649C6-6CDE-D610-4433-35C84827DC95}"/>
          </ac:spMkLst>
        </pc:spChg>
        <pc:spChg chg="add mod">
          <ac:chgData name="Michele Castorina" userId="3a973634-f779-40dc-b85a-2426372079b8" providerId="ADAL" clId="{2C911C95-778C-4399-92DB-F50EAB239CE0}" dt="2023-10-27T13:42:03.421" v="1544" actId="1076"/>
          <ac:spMkLst>
            <pc:docMk/>
            <pc:sldMk cId="832525737" sldId="2147475591"/>
            <ac:spMk id="20" creationId="{E7D1FBC8-D2E2-6E3E-B521-957817FC49B0}"/>
          </ac:spMkLst>
        </pc:spChg>
        <pc:spChg chg="add mod">
          <ac:chgData name="Michele Castorina" userId="3a973634-f779-40dc-b85a-2426372079b8" providerId="ADAL" clId="{2C911C95-778C-4399-92DB-F50EAB239CE0}" dt="2023-10-27T13:41:40.977" v="1543" actId="403"/>
          <ac:spMkLst>
            <pc:docMk/>
            <pc:sldMk cId="832525737" sldId="2147475591"/>
            <ac:spMk id="21" creationId="{5284C5F1-52E4-FB13-A669-EBFDF2A3C98D}"/>
          </ac:spMkLst>
        </pc:spChg>
        <pc:spChg chg="add mod">
          <ac:chgData name="Michele Castorina" userId="3a973634-f779-40dc-b85a-2426372079b8" providerId="ADAL" clId="{2C911C95-778C-4399-92DB-F50EAB239CE0}" dt="2023-10-27T13:41:06.564" v="1537" actId="1076"/>
          <ac:spMkLst>
            <pc:docMk/>
            <pc:sldMk cId="832525737" sldId="2147475591"/>
            <ac:spMk id="22" creationId="{7440CD49-27B7-71A6-F75E-62AA73617040}"/>
          </ac:spMkLst>
        </pc:spChg>
        <pc:spChg chg="add mod">
          <ac:chgData name="Michele Castorina" userId="3a973634-f779-40dc-b85a-2426372079b8" providerId="ADAL" clId="{2C911C95-778C-4399-92DB-F50EAB239CE0}" dt="2023-10-27T13:42:57.007" v="1547" actId="1076"/>
          <ac:spMkLst>
            <pc:docMk/>
            <pc:sldMk cId="832525737" sldId="2147475591"/>
            <ac:spMk id="23" creationId="{7B69F27F-0AB1-3A06-14D5-4C247C996E7C}"/>
          </ac:spMkLst>
        </pc:spChg>
        <pc:spChg chg="add mod">
          <ac:chgData name="Michele Castorina" userId="3a973634-f779-40dc-b85a-2426372079b8" providerId="ADAL" clId="{2C911C95-778C-4399-92DB-F50EAB239CE0}" dt="2023-10-27T13:43:03.631" v="1548" actId="1076"/>
          <ac:spMkLst>
            <pc:docMk/>
            <pc:sldMk cId="832525737" sldId="2147475591"/>
            <ac:spMk id="24" creationId="{4492616E-9631-12B4-87C1-6971946749A7}"/>
          </ac:spMkLst>
        </pc:spChg>
        <pc:spChg chg="add mod">
          <ac:chgData name="Michele Castorina" userId="3a973634-f779-40dc-b85a-2426372079b8" providerId="ADAL" clId="{2C911C95-778C-4399-92DB-F50EAB239CE0}" dt="2023-10-27T13:42:03.421" v="1544" actId="1076"/>
          <ac:spMkLst>
            <pc:docMk/>
            <pc:sldMk cId="832525737" sldId="2147475591"/>
            <ac:spMk id="25" creationId="{94E58149-FA01-EDE6-4186-9A6455A4AEE2}"/>
          </ac:spMkLst>
        </pc:spChg>
        <pc:spChg chg="add mod">
          <ac:chgData name="Michele Castorina" userId="3a973634-f779-40dc-b85a-2426372079b8" providerId="ADAL" clId="{2C911C95-778C-4399-92DB-F50EAB239CE0}" dt="2023-10-27T13:43:29.533" v="1552" actId="1076"/>
          <ac:spMkLst>
            <pc:docMk/>
            <pc:sldMk cId="832525737" sldId="2147475591"/>
            <ac:spMk id="26" creationId="{EE793BF5-1733-75A4-1568-3ACD502FD6B6}"/>
          </ac:spMkLst>
        </pc:spChg>
        <pc:spChg chg="add mod">
          <ac:chgData name="Michele Castorina" userId="3a973634-f779-40dc-b85a-2426372079b8" providerId="ADAL" clId="{2C911C95-778C-4399-92DB-F50EAB239CE0}" dt="2023-10-27T13:43:20.238" v="1551" actId="1076"/>
          <ac:spMkLst>
            <pc:docMk/>
            <pc:sldMk cId="832525737" sldId="2147475591"/>
            <ac:spMk id="27" creationId="{FB7CA0E2-1BC4-D404-2F92-E7988B4080B6}"/>
          </ac:spMkLst>
        </pc:spChg>
        <pc:picChg chg="del mod modCrop">
          <ac:chgData name="Michele Castorina" userId="3a973634-f779-40dc-b85a-2426372079b8" providerId="ADAL" clId="{2C911C95-778C-4399-92DB-F50EAB239CE0}" dt="2023-10-27T13:40:59.766" v="1536" actId="478"/>
          <ac:picMkLst>
            <pc:docMk/>
            <pc:sldMk cId="832525737" sldId="2147475591"/>
            <ac:picMk id="4" creationId="{C0FDB8CD-C1EA-C6FA-CF59-6334EBFD7819}"/>
          </ac:picMkLst>
        </pc:picChg>
        <pc:picChg chg="add mod">
          <ac:chgData name="Michele Castorina" userId="3a973634-f779-40dc-b85a-2426372079b8" providerId="ADAL" clId="{2C911C95-778C-4399-92DB-F50EAB239CE0}" dt="2023-10-27T13:42:40.588" v="1545" actId="1076"/>
          <ac:picMkLst>
            <pc:docMk/>
            <pc:sldMk cId="832525737" sldId="2147475591"/>
            <ac:picMk id="5" creationId="{5C2AB180-F0DD-825F-ED63-5D68F9C4E068}"/>
          </ac:picMkLst>
        </pc:picChg>
        <pc:picChg chg="add mod">
          <ac:chgData name="Michele Castorina" userId="3a973634-f779-40dc-b85a-2426372079b8" providerId="ADAL" clId="{2C911C95-778C-4399-92DB-F50EAB239CE0}" dt="2023-10-27T13:42:03.421" v="1544" actId="1076"/>
          <ac:picMkLst>
            <pc:docMk/>
            <pc:sldMk cId="832525737" sldId="2147475591"/>
            <ac:picMk id="7" creationId="{7DF208A1-B32E-792E-33E0-153BBE249840}"/>
          </ac:picMkLst>
        </pc:picChg>
        <pc:picChg chg="add mod">
          <ac:chgData name="Michele Castorina" userId="3a973634-f779-40dc-b85a-2426372079b8" providerId="ADAL" clId="{2C911C95-778C-4399-92DB-F50EAB239CE0}" dt="2023-10-27T13:42:03.421" v="1544" actId="1076"/>
          <ac:picMkLst>
            <pc:docMk/>
            <pc:sldMk cId="832525737" sldId="2147475591"/>
            <ac:picMk id="9" creationId="{935041DE-4305-522E-95AF-92EE56800179}"/>
          </ac:picMkLst>
        </pc:picChg>
        <pc:picChg chg="add mod">
          <ac:chgData name="Michele Castorina" userId="3a973634-f779-40dc-b85a-2426372079b8" providerId="ADAL" clId="{2C911C95-778C-4399-92DB-F50EAB239CE0}" dt="2023-10-27T13:43:10.739" v="1550" actId="1076"/>
          <ac:picMkLst>
            <pc:docMk/>
            <pc:sldMk cId="832525737" sldId="2147475591"/>
            <ac:picMk id="11" creationId="{EDE95D96-47D0-ADCF-35D5-52F66D4E9D94}"/>
          </ac:picMkLst>
        </pc:picChg>
        <pc:picChg chg="add mod">
          <ac:chgData name="Michele Castorina" userId="3a973634-f779-40dc-b85a-2426372079b8" providerId="ADAL" clId="{2C911C95-778C-4399-92DB-F50EAB239CE0}" dt="2023-10-27T13:31:25.370" v="1294" actId="1076"/>
          <ac:picMkLst>
            <pc:docMk/>
            <pc:sldMk cId="832525737" sldId="2147475591"/>
            <ac:picMk id="13" creationId="{D9DE169C-6F2A-B5BF-1B26-3A8EB72BCAD4}"/>
          </ac:picMkLst>
        </pc:picChg>
        <pc:picChg chg="add mod">
          <ac:chgData name="Michele Castorina" userId="3a973634-f779-40dc-b85a-2426372079b8" providerId="ADAL" clId="{2C911C95-778C-4399-92DB-F50EAB239CE0}" dt="2023-10-27T13:42:47.038" v="1546" actId="1076"/>
          <ac:picMkLst>
            <pc:docMk/>
            <pc:sldMk cId="832525737" sldId="2147475591"/>
            <ac:picMk id="15" creationId="{FA790F22-E230-534E-9A9B-BFBF065A5A82}"/>
          </ac:picMkLst>
        </pc:picChg>
        <pc:cxnChg chg="add mod">
          <ac:chgData name="Michele Castorina" userId="3a973634-f779-40dc-b85a-2426372079b8" providerId="ADAL" clId="{2C911C95-778C-4399-92DB-F50EAB239CE0}" dt="2023-10-27T13:32:11.172" v="1298" actId="17032"/>
          <ac:cxnSpMkLst>
            <pc:docMk/>
            <pc:sldMk cId="832525737" sldId="2147475591"/>
            <ac:cxnSpMk id="17" creationId="{139EA5DE-C4C3-16BF-8C80-F45B39713F16}"/>
          </ac:cxnSpMkLst>
        </pc:cxnChg>
        <pc:cxnChg chg="add mod">
          <ac:chgData name="Michele Castorina" userId="3a973634-f779-40dc-b85a-2426372079b8" providerId="ADAL" clId="{2C911C95-778C-4399-92DB-F50EAB239CE0}" dt="2023-10-27T13:32:23.288" v="1300" actId="1076"/>
          <ac:cxnSpMkLst>
            <pc:docMk/>
            <pc:sldMk cId="832525737" sldId="2147475591"/>
            <ac:cxnSpMk id="18" creationId="{AB8A0D58-E537-0888-01E8-C419D22672FC}"/>
          </ac:cxnSpMkLst>
        </pc:cxnChg>
      </pc:sldChg>
      <pc:sldChg chg="del">
        <pc:chgData name="Michele Castorina" userId="3a973634-f779-40dc-b85a-2426372079b8" providerId="ADAL" clId="{2C911C95-778C-4399-92DB-F50EAB239CE0}" dt="2023-10-26T13:57:21.134" v="6" actId="47"/>
        <pc:sldMkLst>
          <pc:docMk/>
          <pc:sldMk cId="1587688863" sldId="2147475592"/>
        </pc:sldMkLst>
      </pc:sldChg>
      <pc:sldChg chg="del">
        <pc:chgData name="Michele Castorina" userId="3a973634-f779-40dc-b85a-2426372079b8" providerId="ADAL" clId="{2C911C95-778C-4399-92DB-F50EAB239CE0}" dt="2023-10-26T15:27:24.460" v="1254" actId="47"/>
        <pc:sldMkLst>
          <pc:docMk/>
          <pc:sldMk cId="4216527608" sldId="2147475596"/>
        </pc:sldMkLst>
      </pc:sldChg>
      <pc:sldChg chg="del">
        <pc:chgData name="Michele Castorina" userId="3a973634-f779-40dc-b85a-2426372079b8" providerId="ADAL" clId="{2C911C95-778C-4399-92DB-F50EAB239CE0}" dt="2023-10-26T13:57:08.944" v="5" actId="47"/>
        <pc:sldMkLst>
          <pc:docMk/>
          <pc:sldMk cId="141721885" sldId="2147475597"/>
        </pc:sldMkLst>
      </pc:sldChg>
      <pc:sldChg chg="del">
        <pc:chgData name="Michele Castorina" userId="3a973634-f779-40dc-b85a-2426372079b8" providerId="ADAL" clId="{2C911C95-778C-4399-92DB-F50EAB239CE0}" dt="2023-10-26T13:57:06.214" v="3" actId="47"/>
        <pc:sldMkLst>
          <pc:docMk/>
          <pc:sldMk cId="2771893384" sldId="2147475598"/>
        </pc:sldMkLst>
      </pc:sldChg>
      <pc:sldChg chg="del">
        <pc:chgData name="Michele Castorina" userId="3a973634-f779-40dc-b85a-2426372079b8" providerId="ADAL" clId="{2C911C95-778C-4399-92DB-F50EAB239CE0}" dt="2023-10-26T13:57:06.908" v="4" actId="47"/>
        <pc:sldMkLst>
          <pc:docMk/>
          <pc:sldMk cId="3670937262" sldId="2147475599"/>
        </pc:sldMkLst>
      </pc:sldChg>
      <pc:sldChg chg="addSp delSp modSp add del mod">
        <pc:chgData name="Michele Castorina" userId="3a973634-f779-40dc-b85a-2426372079b8" providerId="ADAL" clId="{2C911C95-778C-4399-92DB-F50EAB239CE0}" dt="2023-10-26T14:06:36.561" v="91" actId="47"/>
        <pc:sldMkLst>
          <pc:docMk/>
          <pc:sldMk cId="615147818" sldId="2147475601"/>
        </pc:sldMkLst>
        <pc:spChg chg="del">
          <ac:chgData name="Michele Castorina" userId="3a973634-f779-40dc-b85a-2426372079b8" providerId="ADAL" clId="{2C911C95-778C-4399-92DB-F50EAB239CE0}" dt="2023-10-26T14:05:58.376" v="83" actId="21"/>
          <ac:spMkLst>
            <pc:docMk/>
            <pc:sldMk cId="615147818" sldId="2147475601"/>
            <ac:spMk id="4" creationId="{4772CA56-FBD8-31EA-D0A5-D16E381C8A7B}"/>
          </ac:spMkLst>
        </pc:spChg>
        <pc:spChg chg="del">
          <ac:chgData name="Michele Castorina" userId="3a973634-f779-40dc-b85a-2426372079b8" providerId="ADAL" clId="{2C911C95-778C-4399-92DB-F50EAB239CE0}" dt="2023-10-26T14:05:58.376" v="83" actId="21"/>
          <ac:spMkLst>
            <pc:docMk/>
            <pc:sldMk cId="615147818" sldId="2147475601"/>
            <ac:spMk id="5" creationId="{955EA68E-3EB7-76B5-5A28-5CFAAE528746}"/>
          </ac:spMkLst>
        </pc:spChg>
        <pc:spChg chg="del">
          <ac:chgData name="Michele Castorina" userId="3a973634-f779-40dc-b85a-2426372079b8" providerId="ADAL" clId="{2C911C95-778C-4399-92DB-F50EAB239CE0}" dt="2023-10-26T14:05:58.376" v="83" actId="21"/>
          <ac:spMkLst>
            <pc:docMk/>
            <pc:sldMk cId="615147818" sldId="2147475601"/>
            <ac:spMk id="6" creationId="{46834BE7-9D7E-571F-A7E1-B3051272B710}"/>
          </ac:spMkLst>
        </pc:spChg>
        <pc:spChg chg="del">
          <ac:chgData name="Michele Castorina" userId="3a973634-f779-40dc-b85a-2426372079b8" providerId="ADAL" clId="{2C911C95-778C-4399-92DB-F50EAB239CE0}" dt="2023-10-26T14:05:58.376" v="83" actId="21"/>
          <ac:spMkLst>
            <pc:docMk/>
            <pc:sldMk cId="615147818" sldId="2147475601"/>
            <ac:spMk id="7" creationId="{042B26A3-1126-01F9-AD76-0274E4511A38}"/>
          </ac:spMkLst>
        </pc:spChg>
        <pc:spChg chg="del">
          <ac:chgData name="Michele Castorina" userId="3a973634-f779-40dc-b85a-2426372079b8" providerId="ADAL" clId="{2C911C95-778C-4399-92DB-F50EAB239CE0}" dt="2023-10-26T14:05:58.376" v="83" actId="21"/>
          <ac:spMkLst>
            <pc:docMk/>
            <pc:sldMk cId="615147818" sldId="2147475601"/>
            <ac:spMk id="8" creationId="{01A70D11-B23E-0E6E-585B-632442DBAA7A}"/>
          </ac:spMkLst>
        </pc:spChg>
        <pc:spChg chg="del">
          <ac:chgData name="Michele Castorina" userId="3a973634-f779-40dc-b85a-2426372079b8" providerId="ADAL" clId="{2C911C95-778C-4399-92DB-F50EAB239CE0}" dt="2023-10-26T14:05:58.376" v="83" actId="21"/>
          <ac:spMkLst>
            <pc:docMk/>
            <pc:sldMk cId="615147818" sldId="2147475601"/>
            <ac:spMk id="9" creationId="{EA9EE6CB-94E6-9EB3-9B29-D61EACC8932C}"/>
          </ac:spMkLst>
        </pc:spChg>
        <pc:spChg chg="del">
          <ac:chgData name="Michele Castorina" userId="3a973634-f779-40dc-b85a-2426372079b8" providerId="ADAL" clId="{2C911C95-778C-4399-92DB-F50EAB239CE0}" dt="2023-10-26T14:05:58.376" v="83" actId="21"/>
          <ac:spMkLst>
            <pc:docMk/>
            <pc:sldMk cId="615147818" sldId="2147475601"/>
            <ac:spMk id="10" creationId="{CEF41CBF-094F-ECC6-16DE-723A14BC6D6B}"/>
          </ac:spMkLst>
        </pc:spChg>
        <pc:spChg chg="del">
          <ac:chgData name="Michele Castorina" userId="3a973634-f779-40dc-b85a-2426372079b8" providerId="ADAL" clId="{2C911C95-778C-4399-92DB-F50EAB239CE0}" dt="2023-10-26T14:05:58.376" v="83" actId="21"/>
          <ac:spMkLst>
            <pc:docMk/>
            <pc:sldMk cId="615147818" sldId="2147475601"/>
            <ac:spMk id="11" creationId="{6942E4FB-B45B-BF26-FE9B-3501254E75E9}"/>
          </ac:spMkLst>
        </pc:spChg>
        <pc:spChg chg="del">
          <ac:chgData name="Michele Castorina" userId="3a973634-f779-40dc-b85a-2426372079b8" providerId="ADAL" clId="{2C911C95-778C-4399-92DB-F50EAB239CE0}" dt="2023-10-26T14:05:58.376" v="83" actId="21"/>
          <ac:spMkLst>
            <pc:docMk/>
            <pc:sldMk cId="615147818" sldId="2147475601"/>
            <ac:spMk id="12" creationId="{4AE12DA1-7A36-7CF0-5278-71B29FFE46F9}"/>
          </ac:spMkLst>
        </pc:spChg>
        <pc:spChg chg="add del mod">
          <ac:chgData name="Michele Castorina" userId="3a973634-f779-40dc-b85a-2426372079b8" providerId="ADAL" clId="{2C911C95-778C-4399-92DB-F50EAB239CE0}" dt="2023-10-26T14:05:42.242" v="82" actId="478"/>
          <ac:spMkLst>
            <pc:docMk/>
            <pc:sldMk cId="615147818" sldId="2147475601"/>
            <ac:spMk id="13" creationId="{5E2FCEBB-EB33-E2F5-3BEA-727E23708456}"/>
          </ac:spMkLst>
        </pc:spChg>
        <pc:spChg chg="del">
          <ac:chgData name="Michele Castorina" userId="3a973634-f779-40dc-b85a-2426372079b8" providerId="ADAL" clId="{2C911C95-778C-4399-92DB-F50EAB239CE0}" dt="2023-10-26T14:05:58.376" v="83" actId="21"/>
          <ac:spMkLst>
            <pc:docMk/>
            <pc:sldMk cId="615147818" sldId="2147475601"/>
            <ac:spMk id="33" creationId="{DA734207-996A-4267-A40D-E4268D7D1C08}"/>
          </ac:spMkLst>
        </pc:spChg>
        <pc:spChg chg="del">
          <ac:chgData name="Michele Castorina" userId="3a973634-f779-40dc-b85a-2426372079b8" providerId="ADAL" clId="{2C911C95-778C-4399-92DB-F50EAB239CE0}" dt="2023-10-26T14:05:58.376" v="83" actId="21"/>
          <ac:spMkLst>
            <pc:docMk/>
            <pc:sldMk cId="615147818" sldId="2147475601"/>
            <ac:spMk id="35" creationId="{7A2241B2-1A5F-1DBD-B589-7816869AADFC}"/>
          </ac:spMkLst>
        </pc:spChg>
        <pc:spChg chg="del">
          <ac:chgData name="Michele Castorina" userId="3a973634-f779-40dc-b85a-2426372079b8" providerId="ADAL" clId="{2C911C95-778C-4399-92DB-F50EAB239CE0}" dt="2023-10-26T14:05:58.376" v="83" actId="21"/>
          <ac:spMkLst>
            <pc:docMk/>
            <pc:sldMk cId="615147818" sldId="2147475601"/>
            <ac:spMk id="37" creationId="{875FD6E1-2C0C-9377-00F2-C21A35EBFA8A}"/>
          </ac:spMkLst>
        </pc:spChg>
        <pc:spChg chg="del">
          <ac:chgData name="Michele Castorina" userId="3a973634-f779-40dc-b85a-2426372079b8" providerId="ADAL" clId="{2C911C95-778C-4399-92DB-F50EAB239CE0}" dt="2023-10-26T14:05:58.376" v="83" actId="21"/>
          <ac:spMkLst>
            <pc:docMk/>
            <pc:sldMk cId="615147818" sldId="2147475601"/>
            <ac:spMk id="112" creationId="{620CB789-5FEE-6488-DF42-91FF3D1563EA}"/>
          </ac:spMkLst>
        </pc:spChg>
        <pc:spChg chg="del">
          <ac:chgData name="Michele Castorina" userId="3a973634-f779-40dc-b85a-2426372079b8" providerId="ADAL" clId="{2C911C95-778C-4399-92DB-F50EAB239CE0}" dt="2023-10-26T14:05:58.376" v="83" actId="21"/>
          <ac:spMkLst>
            <pc:docMk/>
            <pc:sldMk cId="615147818" sldId="2147475601"/>
            <ac:spMk id="113" creationId="{6A89FC66-DAA8-B64C-5290-20085A3D7138}"/>
          </ac:spMkLst>
        </pc:spChg>
        <pc:spChg chg="del">
          <ac:chgData name="Michele Castorina" userId="3a973634-f779-40dc-b85a-2426372079b8" providerId="ADAL" clId="{2C911C95-778C-4399-92DB-F50EAB239CE0}" dt="2023-10-26T14:05:58.376" v="83" actId="21"/>
          <ac:spMkLst>
            <pc:docMk/>
            <pc:sldMk cId="615147818" sldId="2147475601"/>
            <ac:spMk id="116" creationId="{34D27B42-68EF-D408-0136-FDDD85572501}"/>
          </ac:spMkLst>
        </pc:spChg>
        <pc:spChg chg="del">
          <ac:chgData name="Michele Castorina" userId="3a973634-f779-40dc-b85a-2426372079b8" providerId="ADAL" clId="{2C911C95-778C-4399-92DB-F50EAB239CE0}" dt="2023-10-26T14:05:58.376" v="83" actId="21"/>
          <ac:spMkLst>
            <pc:docMk/>
            <pc:sldMk cId="615147818" sldId="2147475601"/>
            <ac:spMk id="118" creationId="{F275EFBE-F730-54ED-0578-D6882614A552}"/>
          </ac:spMkLst>
        </pc:spChg>
        <pc:spChg chg="del">
          <ac:chgData name="Michele Castorina" userId="3a973634-f779-40dc-b85a-2426372079b8" providerId="ADAL" clId="{2C911C95-778C-4399-92DB-F50EAB239CE0}" dt="2023-10-26T14:05:58.376" v="83" actId="21"/>
          <ac:spMkLst>
            <pc:docMk/>
            <pc:sldMk cId="615147818" sldId="2147475601"/>
            <ac:spMk id="120" creationId="{E16D4EA2-82DE-6D7D-4F5A-7682C66DCAD8}"/>
          </ac:spMkLst>
        </pc:spChg>
        <pc:spChg chg="del">
          <ac:chgData name="Michele Castorina" userId="3a973634-f779-40dc-b85a-2426372079b8" providerId="ADAL" clId="{2C911C95-778C-4399-92DB-F50EAB239CE0}" dt="2023-10-26T14:05:58.376" v="83" actId="21"/>
          <ac:spMkLst>
            <pc:docMk/>
            <pc:sldMk cId="615147818" sldId="2147475601"/>
            <ac:spMk id="121" creationId="{11558DE9-0565-540B-5783-028D1B45F79D}"/>
          </ac:spMkLst>
        </pc:spChg>
        <pc:spChg chg="del">
          <ac:chgData name="Michele Castorina" userId="3a973634-f779-40dc-b85a-2426372079b8" providerId="ADAL" clId="{2C911C95-778C-4399-92DB-F50EAB239CE0}" dt="2023-10-26T14:05:58.376" v="83" actId="21"/>
          <ac:spMkLst>
            <pc:docMk/>
            <pc:sldMk cId="615147818" sldId="2147475601"/>
            <ac:spMk id="122" creationId="{0B5FF067-CBD8-FE40-5067-6BB7B16F9955}"/>
          </ac:spMkLst>
        </pc:spChg>
        <pc:spChg chg="del">
          <ac:chgData name="Michele Castorina" userId="3a973634-f779-40dc-b85a-2426372079b8" providerId="ADAL" clId="{2C911C95-778C-4399-92DB-F50EAB239CE0}" dt="2023-10-26T14:05:58.376" v="83" actId="21"/>
          <ac:spMkLst>
            <pc:docMk/>
            <pc:sldMk cId="615147818" sldId="2147475601"/>
            <ac:spMk id="128" creationId="{EB55D82B-94E8-800B-C7AF-3C7D3A0D5465}"/>
          </ac:spMkLst>
        </pc:spChg>
        <pc:spChg chg="del">
          <ac:chgData name="Michele Castorina" userId="3a973634-f779-40dc-b85a-2426372079b8" providerId="ADAL" clId="{2C911C95-778C-4399-92DB-F50EAB239CE0}" dt="2023-10-26T14:05:58.376" v="83" actId="21"/>
          <ac:spMkLst>
            <pc:docMk/>
            <pc:sldMk cId="615147818" sldId="2147475601"/>
            <ac:spMk id="135" creationId="{D285F45C-0831-307F-DCC0-8A9059627F70}"/>
          </ac:spMkLst>
        </pc:spChg>
        <pc:spChg chg="del">
          <ac:chgData name="Michele Castorina" userId="3a973634-f779-40dc-b85a-2426372079b8" providerId="ADAL" clId="{2C911C95-778C-4399-92DB-F50EAB239CE0}" dt="2023-10-26T14:05:58.376" v="83" actId="21"/>
          <ac:spMkLst>
            <pc:docMk/>
            <pc:sldMk cId="615147818" sldId="2147475601"/>
            <ac:spMk id="136" creationId="{295C137C-89B4-83C1-E717-7B2687CCB433}"/>
          </ac:spMkLst>
        </pc:spChg>
        <pc:spChg chg="del">
          <ac:chgData name="Michele Castorina" userId="3a973634-f779-40dc-b85a-2426372079b8" providerId="ADAL" clId="{2C911C95-778C-4399-92DB-F50EAB239CE0}" dt="2023-10-26T14:05:58.376" v="83" actId="21"/>
          <ac:spMkLst>
            <pc:docMk/>
            <pc:sldMk cId="615147818" sldId="2147475601"/>
            <ac:spMk id="137" creationId="{4C6480ED-6B36-2764-6B67-1851CC050102}"/>
          </ac:spMkLst>
        </pc:spChg>
        <pc:spChg chg="del">
          <ac:chgData name="Michele Castorina" userId="3a973634-f779-40dc-b85a-2426372079b8" providerId="ADAL" clId="{2C911C95-778C-4399-92DB-F50EAB239CE0}" dt="2023-10-26T14:05:58.376" v="83" actId="21"/>
          <ac:spMkLst>
            <pc:docMk/>
            <pc:sldMk cId="615147818" sldId="2147475601"/>
            <ac:spMk id="138" creationId="{B0BBDDFD-B8F1-EA72-4334-B841302A6FDE}"/>
          </ac:spMkLst>
        </pc:spChg>
        <pc:spChg chg="del">
          <ac:chgData name="Michele Castorina" userId="3a973634-f779-40dc-b85a-2426372079b8" providerId="ADAL" clId="{2C911C95-778C-4399-92DB-F50EAB239CE0}" dt="2023-10-26T14:05:58.376" v="83" actId="21"/>
          <ac:spMkLst>
            <pc:docMk/>
            <pc:sldMk cId="615147818" sldId="2147475601"/>
            <ac:spMk id="139" creationId="{AF9D6E22-8A55-B7E3-9944-33DF50C17B04}"/>
          </ac:spMkLst>
        </pc:spChg>
        <pc:spChg chg="del">
          <ac:chgData name="Michele Castorina" userId="3a973634-f779-40dc-b85a-2426372079b8" providerId="ADAL" clId="{2C911C95-778C-4399-92DB-F50EAB239CE0}" dt="2023-10-26T14:05:58.376" v="83" actId="21"/>
          <ac:spMkLst>
            <pc:docMk/>
            <pc:sldMk cId="615147818" sldId="2147475601"/>
            <ac:spMk id="140" creationId="{06C8BDBA-290E-2848-F161-BDE34263333B}"/>
          </ac:spMkLst>
        </pc:spChg>
        <pc:spChg chg="del">
          <ac:chgData name="Michele Castorina" userId="3a973634-f779-40dc-b85a-2426372079b8" providerId="ADAL" clId="{2C911C95-778C-4399-92DB-F50EAB239CE0}" dt="2023-10-26T14:05:58.376" v="83" actId="21"/>
          <ac:spMkLst>
            <pc:docMk/>
            <pc:sldMk cId="615147818" sldId="2147475601"/>
            <ac:spMk id="141" creationId="{03573F17-C565-D9CC-A5FA-B54324F56F68}"/>
          </ac:spMkLst>
        </pc:spChg>
        <pc:spChg chg="del">
          <ac:chgData name="Michele Castorina" userId="3a973634-f779-40dc-b85a-2426372079b8" providerId="ADAL" clId="{2C911C95-778C-4399-92DB-F50EAB239CE0}" dt="2023-10-26T14:05:58.376" v="83" actId="21"/>
          <ac:spMkLst>
            <pc:docMk/>
            <pc:sldMk cId="615147818" sldId="2147475601"/>
            <ac:spMk id="142" creationId="{3D992DDE-B4CD-736E-44F8-07F7A4021F04}"/>
          </ac:spMkLst>
        </pc:spChg>
      </pc:sldChg>
      <pc:sldChg chg="addSp delSp modSp new mod modTransition">
        <pc:chgData name="Michele Castorina" userId="3a973634-f779-40dc-b85a-2426372079b8" providerId="ADAL" clId="{2C911C95-778C-4399-92DB-F50EAB239CE0}" dt="2023-10-26T14:10:13.150" v="99"/>
        <pc:sldMkLst>
          <pc:docMk/>
          <pc:sldMk cId="3519622400" sldId="2147475602"/>
        </pc:sldMkLst>
        <pc:spChg chg="del">
          <ac:chgData name="Michele Castorina" userId="3a973634-f779-40dc-b85a-2426372079b8" providerId="ADAL" clId="{2C911C95-778C-4399-92DB-F50EAB239CE0}" dt="2023-10-26T14:06:05.097" v="85" actId="478"/>
          <ac:spMkLst>
            <pc:docMk/>
            <pc:sldMk cId="3519622400" sldId="2147475602"/>
            <ac:spMk id="2" creationId="{3A2BEC47-B61F-78EE-0D30-AE9097D76A72}"/>
          </ac:spMkLst>
        </pc:spChg>
        <pc:spChg chg="del">
          <ac:chgData name="Michele Castorina" userId="3a973634-f779-40dc-b85a-2426372079b8" providerId="ADAL" clId="{2C911C95-778C-4399-92DB-F50EAB239CE0}" dt="2023-10-26T14:06:07.810" v="86" actId="478"/>
          <ac:spMkLst>
            <pc:docMk/>
            <pc:sldMk cId="3519622400" sldId="2147475602"/>
            <ac:spMk id="3" creationId="{6E537DB0-54C7-B85D-59E9-63F08FBD4852}"/>
          </ac:spMkLst>
        </pc:spChg>
        <pc:spChg chg="add mod">
          <ac:chgData name="Michele Castorina" userId="3a973634-f779-40dc-b85a-2426372079b8" providerId="ADAL" clId="{2C911C95-778C-4399-92DB-F50EAB239CE0}" dt="2023-10-26T14:07:34.363" v="93" actId="208"/>
          <ac:spMkLst>
            <pc:docMk/>
            <pc:sldMk cId="3519622400" sldId="2147475602"/>
            <ac:spMk id="4" creationId="{18E94633-F16E-CB5B-6E06-1C165742BA6D}"/>
          </ac:spMkLst>
        </pc:spChg>
        <pc:spChg chg="add mod">
          <ac:chgData name="Michele Castorina" userId="3a973634-f779-40dc-b85a-2426372079b8" providerId="ADAL" clId="{2C911C95-778C-4399-92DB-F50EAB239CE0}" dt="2023-10-26T14:06:30.881" v="90"/>
          <ac:spMkLst>
            <pc:docMk/>
            <pc:sldMk cId="3519622400" sldId="2147475602"/>
            <ac:spMk id="5" creationId="{0FDF6D09-CB7D-D195-A0A6-13625923ACE5}"/>
          </ac:spMkLst>
        </pc:spChg>
        <pc:spChg chg="add mod">
          <ac:chgData name="Michele Castorina" userId="3a973634-f779-40dc-b85a-2426372079b8" providerId="ADAL" clId="{2C911C95-778C-4399-92DB-F50EAB239CE0}" dt="2023-10-26T14:06:30.881" v="90"/>
          <ac:spMkLst>
            <pc:docMk/>
            <pc:sldMk cId="3519622400" sldId="2147475602"/>
            <ac:spMk id="6" creationId="{A80E862C-A2F0-BC7A-4969-0827704C348D}"/>
          </ac:spMkLst>
        </pc:spChg>
        <pc:spChg chg="add mod">
          <ac:chgData name="Michele Castorina" userId="3a973634-f779-40dc-b85a-2426372079b8" providerId="ADAL" clId="{2C911C95-778C-4399-92DB-F50EAB239CE0}" dt="2023-10-26T14:06:30.881" v="90"/>
          <ac:spMkLst>
            <pc:docMk/>
            <pc:sldMk cId="3519622400" sldId="2147475602"/>
            <ac:spMk id="7" creationId="{A13A885B-7C7B-F1AB-E780-F08200267BFB}"/>
          </ac:spMkLst>
        </pc:spChg>
        <pc:spChg chg="add mod">
          <ac:chgData name="Michele Castorina" userId="3a973634-f779-40dc-b85a-2426372079b8" providerId="ADAL" clId="{2C911C95-778C-4399-92DB-F50EAB239CE0}" dt="2023-10-26T14:06:30.881" v="90"/>
          <ac:spMkLst>
            <pc:docMk/>
            <pc:sldMk cId="3519622400" sldId="2147475602"/>
            <ac:spMk id="8" creationId="{E680F849-79EF-1A39-BB5D-A6132871A1E3}"/>
          </ac:spMkLst>
        </pc:spChg>
        <pc:spChg chg="add mod">
          <ac:chgData name="Michele Castorina" userId="3a973634-f779-40dc-b85a-2426372079b8" providerId="ADAL" clId="{2C911C95-778C-4399-92DB-F50EAB239CE0}" dt="2023-10-26T14:06:30.881" v="90"/>
          <ac:spMkLst>
            <pc:docMk/>
            <pc:sldMk cId="3519622400" sldId="2147475602"/>
            <ac:spMk id="9" creationId="{59DB50C2-4175-09AF-C3BE-464DB9CF01FC}"/>
          </ac:spMkLst>
        </pc:spChg>
        <pc:spChg chg="add mod">
          <ac:chgData name="Michele Castorina" userId="3a973634-f779-40dc-b85a-2426372079b8" providerId="ADAL" clId="{2C911C95-778C-4399-92DB-F50EAB239CE0}" dt="2023-10-26T14:06:30.881" v="90"/>
          <ac:spMkLst>
            <pc:docMk/>
            <pc:sldMk cId="3519622400" sldId="2147475602"/>
            <ac:spMk id="10" creationId="{E031E4B0-8937-B21E-1C71-CA716C0BE4F7}"/>
          </ac:spMkLst>
        </pc:spChg>
        <pc:spChg chg="add mod">
          <ac:chgData name="Michele Castorina" userId="3a973634-f779-40dc-b85a-2426372079b8" providerId="ADAL" clId="{2C911C95-778C-4399-92DB-F50EAB239CE0}" dt="2023-10-26T14:06:30.881" v="90"/>
          <ac:spMkLst>
            <pc:docMk/>
            <pc:sldMk cId="3519622400" sldId="2147475602"/>
            <ac:spMk id="11" creationId="{82EFDB68-1349-37F4-A104-F32B5F47FA62}"/>
          </ac:spMkLst>
        </pc:spChg>
        <pc:spChg chg="add mod">
          <ac:chgData name="Michele Castorina" userId="3a973634-f779-40dc-b85a-2426372079b8" providerId="ADAL" clId="{2C911C95-778C-4399-92DB-F50EAB239CE0}" dt="2023-10-26T14:06:30.881" v="90"/>
          <ac:spMkLst>
            <pc:docMk/>
            <pc:sldMk cId="3519622400" sldId="2147475602"/>
            <ac:spMk id="12" creationId="{F21619C3-E4DD-DF3F-6376-23D9E4A0BEFA}"/>
          </ac:spMkLst>
        </pc:spChg>
        <pc:spChg chg="add mod">
          <ac:chgData name="Michele Castorina" userId="3a973634-f779-40dc-b85a-2426372079b8" providerId="ADAL" clId="{2C911C95-778C-4399-92DB-F50EAB239CE0}" dt="2023-10-26T14:06:30.881" v="90"/>
          <ac:spMkLst>
            <pc:docMk/>
            <pc:sldMk cId="3519622400" sldId="2147475602"/>
            <ac:spMk id="13" creationId="{4D0333FC-A429-8DDF-9499-122CB5B79489}"/>
          </ac:spMkLst>
        </pc:spChg>
        <pc:spChg chg="add mod">
          <ac:chgData name="Michele Castorina" userId="3a973634-f779-40dc-b85a-2426372079b8" providerId="ADAL" clId="{2C911C95-778C-4399-92DB-F50EAB239CE0}" dt="2023-10-26T14:06:30.881" v="90"/>
          <ac:spMkLst>
            <pc:docMk/>
            <pc:sldMk cId="3519622400" sldId="2147475602"/>
            <ac:spMk id="14" creationId="{01F2FC77-8AD0-0CEF-ECF8-96A811D0B6F0}"/>
          </ac:spMkLst>
        </pc:spChg>
        <pc:spChg chg="add mod">
          <ac:chgData name="Michele Castorina" userId="3a973634-f779-40dc-b85a-2426372079b8" providerId="ADAL" clId="{2C911C95-778C-4399-92DB-F50EAB239CE0}" dt="2023-10-26T14:06:30.881" v="90"/>
          <ac:spMkLst>
            <pc:docMk/>
            <pc:sldMk cId="3519622400" sldId="2147475602"/>
            <ac:spMk id="15" creationId="{31701ADB-97EC-A77F-231C-3FE8316C4875}"/>
          </ac:spMkLst>
        </pc:spChg>
        <pc:spChg chg="add mod">
          <ac:chgData name="Michele Castorina" userId="3a973634-f779-40dc-b85a-2426372079b8" providerId="ADAL" clId="{2C911C95-778C-4399-92DB-F50EAB239CE0}" dt="2023-10-26T14:06:30.881" v="90"/>
          <ac:spMkLst>
            <pc:docMk/>
            <pc:sldMk cId="3519622400" sldId="2147475602"/>
            <ac:spMk id="16" creationId="{26B47241-426C-A343-7FC1-DECF11174C7B}"/>
          </ac:spMkLst>
        </pc:spChg>
        <pc:spChg chg="add mod">
          <ac:chgData name="Michele Castorina" userId="3a973634-f779-40dc-b85a-2426372079b8" providerId="ADAL" clId="{2C911C95-778C-4399-92DB-F50EAB239CE0}" dt="2023-10-26T14:06:30.881" v="90"/>
          <ac:spMkLst>
            <pc:docMk/>
            <pc:sldMk cId="3519622400" sldId="2147475602"/>
            <ac:spMk id="17" creationId="{F47C9931-8EDA-488D-B48C-91E329DB6607}"/>
          </ac:spMkLst>
        </pc:spChg>
        <pc:spChg chg="add mod">
          <ac:chgData name="Michele Castorina" userId="3a973634-f779-40dc-b85a-2426372079b8" providerId="ADAL" clId="{2C911C95-778C-4399-92DB-F50EAB239CE0}" dt="2023-10-26T14:06:30.881" v="90"/>
          <ac:spMkLst>
            <pc:docMk/>
            <pc:sldMk cId="3519622400" sldId="2147475602"/>
            <ac:spMk id="18" creationId="{0B3D1E60-616A-3B96-3D19-DD6D72E02A1C}"/>
          </ac:spMkLst>
        </pc:spChg>
        <pc:spChg chg="add mod">
          <ac:chgData name="Michele Castorina" userId="3a973634-f779-40dc-b85a-2426372079b8" providerId="ADAL" clId="{2C911C95-778C-4399-92DB-F50EAB239CE0}" dt="2023-10-26T14:06:30.881" v="90"/>
          <ac:spMkLst>
            <pc:docMk/>
            <pc:sldMk cId="3519622400" sldId="2147475602"/>
            <ac:spMk id="19" creationId="{4F2C3754-9221-083A-9E1D-F8A2F91AA586}"/>
          </ac:spMkLst>
        </pc:spChg>
        <pc:spChg chg="add mod">
          <ac:chgData name="Michele Castorina" userId="3a973634-f779-40dc-b85a-2426372079b8" providerId="ADAL" clId="{2C911C95-778C-4399-92DB-F50EAB239CE0}" dt="2023-10-26T14:06:30.881" v="90"/>
          <ac:spMkLst>
            <pc:docMk/>
            <pc:sldMk cId="3519622400" sldId="2147475602"/>
            <ac:spMk id="20" creationId="{C7C76E35-A3F4-3006-E698-020463257D73}"/>
          </ac:spMkLst>
        </pc:spChg>
        <pc:spChg chg="add mod">
          <ac:chgData name="Michele Castorina" userId="3a973634-f779-40dc-b85a-2426372079b8" providerId="ADAL" clId="{2C911C95-778C-4399-92DB-F50EAB239CE0}" dt="2023-10-26T14:06:30.881" v="90"/>
          <ac:spMkLst>
            <pc:docMk/>
            <pc:sldMk cId="3519622400" sldId="2147475602"/>
            <ac:spMk id="21" creationId="{08E30B8B-7EF1-85D8-D5E9-1B59A3C0EB72}"/>
          </ac:spMkLst>
        </pc:spChg>
        <pc:spChg chg="add mod">
          <ac:chgData name="Michele Castorina" userId="3a973634-f779-40dc-b85a-2426372079b8" providerId="ADAL" clId="{2C911C95-778C-4399-92DB-F50EAB239CE0}" dt="2023-10-26T14:06:30.881" v="90"/>
          <ac:spMkLst>
            <pc:docMk/>
            <pc:sldMk cId="3519622400" sldId="2147475602"/>
            <ac:spMk id="22" creationId="{B193B80B-4527-2EA0-2C70-A671DB5C82D7}"/>
          </ac:spMkLst>
        </pc:spChg>
        <pc:spChg chg="add mod">
          <ac:chgData name="Michele Castorina" userId="3a973634-f779-40dc-b85a-2426372079b8" providerId="ADAL" clId="{2C911C95-778C-4399-92DB-F50EAB239CE0}" dt="2023-10-26T14:06:30.881" v="90"/>
          <ac:spMkLst>
            <pc:docMk/>
            <pc:sldMk cId="3519622400" sldId="2147475602"/>
            <ac:spMk id="23" creationId="{0D81393F-D6D6-6F34-89AA-95A5694A803F}"/>
          </ac:spMkLst>
        </pc:spChg>
        <pc:spChg chg="add mod">
          <ac:chgData name="Michele Castorina" userId="3a973634-f779-40dc-b85a-2426372079b8" providerId="ADAL" clId="{2C911C95-778C-4399-92DB-F50EAB239CE0}" dt="2023-10-26T14:06:30.881" v="90"/>
          <ac:spMkLst>
            <pc:docMk/>
            <pc:sldMk cId="3519622400" sldId="2147475602"/>
            <ac:spMk id="24" creationId="{823BDEC4-2A8F-6A8F-3657-1EDE607891A5}"/>
          </ac:spMkLst>
        </pc:spChg>
        <pc:spChg chg="add mod">
          <ac:chgData name="Michele Castorina" userId="3a973634-f779-40dc-b85a-2426372079b8" providerId="ADAL" clId="{2C911C95-778C-4399-92DB-F50EAB239CE0}" dt="2023-10-26T14:06:30.881" v="90"/>
          <ac:spMkLst>
            <pc:docMk/>
            <pc:sldMk cId="3519622400" sldId="2147475602"/>
            <ac:spMk id="25" creationId="{4FD5B104-4386-9929-9A0B-6A7F6EB1ACCF}"/>
          </ac:spMkLst>
        </pc:spChg>
        <pc:spChg chg="add mod">
          <ac:chgData name="Michele Castorina" userId="3a973634-f779-40dc-b85a-2426372079b8" providerId="ADAL" clId="{2C911C95-778C-4399-92DB-F50EAB239CE0}" dt="2023-10-26T14:06:30.881" v="90"/>
          <ac:spMkLst>
            <pc:docMk/>
            <pc:sldMk cId="3519622400" sldId="2147475602"/>
            <ac:spMk id="26" creationId="{DBED998A-AEED-9683-E8DF-F76553B47FED}"/>
          </ac:spMkLst>
        </pc:spChg>
        <pc:spChg chg="add mod">
          <ac:chgData name="Michele Castorina" userId="3a973634-f779-40dc-b85a-2426372079b8" providerId="ADAL" clId="{2C911C95-778C-4399-92DB-F50EAB239CE0}" dt="2023-10-26T14:06:30.881" v="90"/>
          <ac:spMkLst>
            <pc:docMk/>
            <pc:sldMk cId="3519622400" sldId="2147475602"/>
            <ac:spMk id="27" creationId="{0F2CE5A0-7D57-BEEA-BA9F-45A1715D74C0}"/>
          </ac:spMkLst>
        </pc:spChg>
        <pc:spChg chg="add mod">
          <ac:chgData name="Michele Castorina" userId="3a973634-f779-40dc-b85a-2426372079b8" providerId="ADAL" clId="{2C911C95-778C-4399-92DB-F50EAB239CE0}" dt="2023-10-26T14:06:30.881" v="90"/>
          <ac:spMkLst>
            <pc:docMk/>
            <pc:sldMk cId="3519622400" sldId="2147475602"/>
            <ac:spMk id="28" creationId="{1A1B20C9-3F93-766D-1D3F-41FF14AB5121}"/>
          </ac:spMkLst>
        </pc:spChg>
        <pc:spChg chg="add mod">
          <ac:chgData name="Michele Castorina" userId="3a973634-f779-40dc-b85a-2426372079b8" providerId="ADAL" clId="{2C911C95-778C-4399-92DB-F50EAB239CE0}" dt="2023-10-26T14:06:30.881" v="90"/>
          <ac:spMkLst>
            <pc:docMk/>
            <pc:sldMk cId="3519622400" sldId="2147475602"/>
            <ac:spMk id="29" creationId="{CDA31ED0-7B83-90EC-F732-6AF6FCF2D392}"/>
          </ac:spMkLst>
        </pc:spChg>
        <pc:spChg chg="add mod">
          <ac:chgData name="Michele Castorina" userId="3a973634-f779-40dc-b85a-2426372079b8" providerId="ADAL" clId="{2C911C95-778C-4399-92DB-F50EAB239CE0}" dt="2023-10-26T14:06:30.881" v="90"/>
          <ac:spMkLst>
            <pc:docMk/>
            <pc:sldMk cId="3519622400" sldId="2147475602"/>
            <ac:spMk id="30" creationId="{41E57F68-AA0D-B72D-7482-024EC460BB96}"/>
          </ac:spMkLst>
        </pc:spChg>
        <pc:spChg chg="add mod">
          <ac:chgData name="Michele Castorina" userId="3a973634-f779-40dc-b85a-2426372079b8" providerId="ADAL" clId="{2C911C95-778C-4399-92DB-F50EAB239CE0}" dt="2023-10-26T14:06:30.881" v="90"/>
          <ac:spMkLst>
            <pc:docMk/>
            <pc:sldMk cId="3519622400" sldId="2147475602"/>
            <ac:spMk id="31" creationId="{5E3276E3-6521-BC61-26DE-A508AD170013}"/>
          </ac:spMkLst>
        </pc:spChg>
        <pc:spChg chg="add mod">
          <ac:chgData name="Michele Castorina" userId="3a973634-f779-40dc-b85a-2426372079b8" providerId="ADAL" clId="{2C911C95-778C-4399-92DB-F50EAB239CE0}" dt="2023-10-26T14:06:30.881" v="90"/>
          <ac:spMkLst>
            <pc:docMk/>
            <pc:sldMk cId="3519622400" sldId="2147475602"/>
            <ac:spMk id="32" creationId="{67AD4EE1-60B7-9EE5-3948-FF2BB6ED3FE1}"/>
          </ac:spMkLst>
        </pc:spChg>
        <pc:spChg chg="add del mod">
          <ac:chgData name="Michele Castorina" userId="3a973634-f779-40dc-b85a-2426372079b8" providerId="ADAL" clId="{2C911C95-778C-4399-92DB-F50EAB239CE0}" dt="2023-10-26T14:10:13.150" v="99"/>
          <ac:spMkLst>
            <pc:docMk/>
            <pc:sldMk cId="3519622400" sldId="2147475602"/>
            <ac:spMk id="33" creationId="{DF60A56A-3E5D-0E61-6FB3-A3283F9D4FDC}"/>
          </ac:spMkLst>
        </pc:spChg>
      </pc:sldChg>
      <pc:sldChg chg="modSp add mod">
        <pc:chgData name="Michele Castorina" userId="3a973634-f779-40dc-b85a-2426372079b8" providerId="ADAL" clId="{2C911C95-778C-4399-92DB-F50EAB239CE0}" dt="2023-10-26T14:14:27.681" v="203" actId="167"/>
        <pc:sldMkLst>
          <pc:docMk/>
          <pc:sldMk cId="2350900266" sldId="2147475603"/>
        </pc:sldMkLst>
        <pc:spChg chg="mod ord">
          <ac:chgData name="Michele Castorina" userId="3a973634-f779-40dc-b85a-2426372079b8" providerId="ADAL" clId="{2C911C95-778C-4399-92DB-F50EAB239CE0}" dt="2023-10-26T14:14:23.179" v="202" actId="207"/>
          <ac:spMkLst>
            <pc:docMk/>
            <pc:sldMk cId="2350900266" sldId="2147475603"/>
            <ac:spMk id="4" creationId="{18E94633-F16E-CB5B-6E06-1C165742BA6D}"/>
          </ac:spMkLst>
        </pc:spChg>
        <pc:spChg chg="ord">
          <ac:chgData name="Michele Castorina" userId="3a973634-f779-40dc-b85a-2426372079b8" providerId="ADAL" clId="{2C911C95-778C-4399-92DB-F50EAB239CE0}" dt="2023-10-26T14:14:27.681" v="203" actId="167"/>
          <ac:spMkLst>
            <pc:docMk/>
            <pc:sldMk cId="2350900266" sldId="2147475603"/>
            <ac:spMk id="5" creationId="{0FDF6D09-CB7D-D195-A0A6-13625923ACE5}"/>
          </ac:spMkLst>
        </pc:spChg>
        <pc:spChg chg="ord">
          <ac:chgData name="Michele Castorina" userId="3a973634-f779-40dc-b85a-2426372079b8" providerId="ADAL" clId="{2C911C95-778C-4399-92DB-F50EAB239CE0}" dt="2023-10-26T14:13:42.341" v="164" actId="167"/>
          <ac:spMkLst>
            <pc:docMk/>
            <pc:sldMk cId="2350900266" sldId="2147475603"/>
            <ac:spMk id="6" creationId="{A80E862C-A2F0-BC7A-4969-0827704C348D}"/>
          </ac:spMkLst>
        </pc:spChg>
        <pc:spChg chg="ord">
          <ac:chgData name="Michele Castorina" userId="3a973634-f779-40dc-b85a-2426372079b8" providerId="ADAL" clId="{2C911C95-778C-4399-92DB-F50EAB239CE0}" dt="2023-10-26T14:13:42.341" v="164" actId="167"/>
          <ac:spMkLst>
            <pc:docMk/>
            <pc:sldMk cId="2350900266" sldId="2147475603"/>
            <ac:spMk id="7" creationId="{A13A885B-7C7B-F1AB-E780-F08200267BFB}"/>
          </ac:spMkLst>
        </pc:spChg>
        <pc:spChg chg="ord">
          <ac:chgData name="Michele Castorina" userId="3a973634-f779-40dc-b85a-2426372079b8" providerId="ADAL" clId="{2C911C95-778C-4399-92DB-F50EAB239CE0}" dt="2023-10-26T14:13:42.341" v="164" actId="167"/>
          <ac:spMkLst>
            <pc:docMk/>
            <pc:sldMk cId="2350900266" sldId="2147475603"/>
            <ac:spMk id="9" creationId="{59DB50C2-4175-09AF-C3BE-464DB9CF01FC}"/>
          </ac:spMkLst>
        </pc:spChg>
        <pc:spChg chg="ord">
          <ac:chgData name="Michele Castorina" userId="3a973634-f779-40dc-b85a-2426372079b8" providerId="ADAL" clId="{2C911C95-778C-4399-92DB-F50EAB239CE0}" dt="2023-10-26T14:13:42.341" v="164" actId="167"/>
          <ac:spMkLst>
            <pc:docMk/>
            <pc:sldMk cId="2350900266" sldId="2147475603"/>
            <ac:spMk id="10" creationId="{E031E4B0-8937-B21E-1C71-CA716C0BE4F7}"/>
          </ac:spMkLst>
        </pc:spChg>
        <pc:spChg chg="ord">
          <ac:chgData name="Michele Castorina" userId="3a973634-f779-40dc-b85a-2426372079b8" providerId="ADAL" clId="{2C911C95-778C-4399-92DB-F50EAB239CE0}" dt="2023-10-26T14:13:42.341" v="164" actId="167"/>
          <ac:spMkLst>
            <pc:docMk/>
            <pc:sldMk cId="2350900266" sldId="2147475603"/>
            <ac:spMk id="11" creationId="{82EFDB68-1349-37F4-A104-F32B5F47FA62}"/>
          </ac:spMkLst>
        </pc:spChg>
        <pc:spChg chg="ord">
          <ac:chgData name="Michele Castorina" userId="3a973634-f779-40dc-b85a-2426372079b8" providerId="ADAL" clId="{2C911C95-778C-4399-92DB-F50EAB239CE0}" dt="2023-10-26T14:13:42.341" v="164" actId="167"/>
          <ac:spMkLst>
            <pc:docMk/>
            <pc:sldMk cId="2350900266" sldId="2147475603"/>
            <ac:spMk id="13" creationId="{4D0333FC-A429-8DDF-9499-122CB5B79489}"/>
          </ac:spMkLst>
        </pc:spChg>
        <pc:spChg chg="ord">
          <ac:chgData name="Michele Castorina" userId="3a973634-f779-40dc-b85a-2426372079b8" providerId="ADAL" clId="{2C911C95-778C-4399-92DB-F50EAB239CE0}" dt="2023-10-26T14:14:10.389" v="169" actId="167"/>
          <ac:spMkLst>
            <pc:docMk/>
            <pc:sldMk cId="2350900266" sldId="2147475603"/>
            <ac:spMk id="14" creationId="{01F2FC77-8AD0-0CEF-ECF8-96A811D0B6F0}"/>
          </ac:spMkLst>
        </pc:spChg>
        <pc:spChg chg="ord">
          <ac:chgData name="Michele Castorina" userId="3a973634-f779-40dc-b85a-2426372079b8" providerId="ADAL" clId="{2C911C95-778C-4399-92DB-F50EAB239CE0}" dt="2023-10-26T14:13:42.341" v="164" actId="167"/>
          <ac:spMkLst>
            <pc:docMk/>
            <pc:sldMk cId="2350900266" sldId="2147475603"/>
            <ac:spMk id="16" creationId="{26B47241-426C-A343-7FC1-DECF11174C7B}"/>
          </ac:spMkLst>
        </pc:spChg>
        <pc:spChg chg="ord">
          <ac:chgData name="Michele Castorina" userId="3a973634-f779-40dc-b85a-2426372079b8" providerId="ADAL" clId="{2C911C95-778C-4399-92DB-F50EAB239CE0}" dt="2023-10-26T14:13:48.040" v="165" actId="167"/>
          <ac:spMkLst>
            <pc:docMk/>
            <pc:sldMk cId="2350900266" sldId="2147475603"/>
            <ac:spMk id="17" creationId="{F47C9931-8EDA-488D-B48C-91E329DB6607}"/>
          </ac:spMkLst>
        </pc:spChg>
        <pc:spChg chg="ord">
          <ac:chgData name="Michele Castorina" userId="3a973634-f779-40dc-b85a-2426372079b8" providerId="ADAL" clId="{2C911C95-778C-4399-92DB-F50EAB239CE0}" dt="2023-10-26T14:13:42.341" v="164" actId="167"/>
          <ac:spMkLst>
            <pc:docMk/>
            <pc:sldMk cId="2350900266" sldId="2147475603"/>
            <ac:spMk id="19" creationId="{4F2C3754-9221-083A-9E1D-F8A2F91AA586}"/>
          </ac:spMkLst>
        </pc:spChg>
        <pc:spChg chg="ord">
          <ac:chgData name="Michele Castorina" userId="3a973634-f779-40dc-b85a-2426372079b8" providerId="ADAL" clId="{2C911C95-778C-4399-92DB-F50EAB239CE0}" dt="2023-10-26T14:13:42.341" v="164" actId="167"/>
          <ac:spMkLst>
            <pc:docMk/>
            <pc:sldMk cId="2350900266" sldId="2147475603"/>
            <ac:spMk id="20" creationId="{C7C76E35-A3F4-3006-E698-020463257D73}"/>
          </ac:spMkLst>
        </pc:spChg>
        <pc:spChg chg="ord">
          <ac:chgData name="Michele Castorina" userId="3a973634-f779-40dc-b85a-2426372079b8" providerId="ADAL" clId="{2C911C95-778C-4399-92DB-F50EAB239CE0}" dt="2023-10-26T14:13:42.341" v="164" actId="167"/>
          <ac:spMkLst>
            <pc:docMk/>
            <pc:sldMk cId="2350900266" sldId="2147475603"/>
            <ac:spMk id="21" creationId="{08E30B8B-7EF1-85D8-D5E9-1B59A3C0EB72}"/>
          </ac:spMkLst>
        </pc:spChg>
        <pc:spChg chg="ord">
          <ac:chgData name="Michele Castorina" userId="3a973634-f779-40dc-b85a-2426372079b8" providerId="ADAL" clId="{2C911C95-778C-4399-92DB-F50EAB239CE0}" dt="2023-10-26T14:13:42.341" v="164" actId="167"/>
          <ac:spMkLst>
            <pc:docMk/>
            <pc:sldMk cId="2350900266" sldId="2147475603"/>
            <ac:spMk id="22" creationId="{B193B80B-4527-2EA0-2C70-A671DB5C82D7}"/>
          </ac:spMkLst>
        </pc:spChg>
        <pc:spChg chg="ord">
          <ac:chgData name="Michele Castorina" userId="3a973634-f779-40dc-b85a-2426372079b8" providerId="ADAL" clId="{2C911C95-778C-4399-92DB-F50EAB239CE0}" dt="2023-10-26T14:13:52.215" v="166" actId="167"/>
          <ac:spMkLst>
            <pc:docMk/>
            <pc:sldMk cId="2350900266" sldId="2147475603"/>
            <ac:spMk id="23" creationId="{0D81393F-D6D6-6F34-89AA-95A5694A803F}"/>
          </ac:spMkLst>
        </pc:spChg>
        <pc:spChg chg="ord">
          <ac:chgData name="Michele Castorina" userId="3a973634-f779-40dc-b85a-2426372079b8" providerId="ADAL" clId="{2C911C95-778C-4399-92DB-F50EAB239CE0}" dt="2023-10-26T14:13:42.341" v="164" actId="167"/>
          <ac:spMkLst>
            <pc:docMk/>
            <pc:sldMk cId="2350900266" sldId="2147475603"/>
            <ac:spMk id="24" creationId="{823BDEC4-2A8F-6A8F-3657-1EDE607891A5}"/>
          </ac:spMkLst>
        </pc:spChg>
        <pc:spChg chg="ord">
          <ac:chgData name="Michele Castorina" userId="3a973634-f779-40dc-b85a-2426372079b8" providerId="ADAL" clId="{2C911C95-778C-4399-92DB-F50EAB239CE0}" dt="2023-10-26T14:13:42.341" v="164" actId="167"/>
          <ac:spMkLst>
            <pc:docMk/>
            <pc:sldMk cId="2350900266" sldId="2147475603"/>
            <ac:spMk id="25" creationId="{4FD5B104-4386-9929-9A0B-6A7F6EB1ACCF}"/>
          </ac:spMkLst>
        </pc:spChg>
        <pc:spChg chg="ord">
          <ac:chgData name="Michele Castorina" userId="3a973634-f779-40dc-b85a-2426372079b8" providerId="ADAL" clId="{2C911C95-778C-4399-92DB-F50EAB239CE0}" dt="2023-10-26T14:13:42.341" v="164" actId="167"/>
          <ac:spMkLst>
            <pc:docMk/>
            <pc:sldMk cId="2350900266" sldId="2147475603"/>
            <ac:spMk id="26" creationId="{DBED998A-AEED-9683-E8DF-F76553B47FED}"/>
          </ac:spMkLst>
        </pc:spChg>
        <pc:spChg chg="ord">
          <ac:chgData name="Michele Castorina" userId="3a973634-f779-40dc-b85a-2426372079b8" providerId="ADAL" clId="{2C911C95-778C-4399-92DB-F50EAB239CE0}" dt="2023-10-26T14:13:42.341" v="164" actId="167"/>
          <ac:spMkLst>
            <pc:docMk/>
            <pc:sldMk cId="2350900266" sldId="2147475603"/>
            <ac:spMk id="28" creationId="{1A1B20C9-3F93-766D-1D3F-41FF14AB5121}"/>
          </ac:spMkLst>
        </pc:spChg>
        <pc:spChg chg="ord">
          <ac:chgData name="Michele Castorina" userId="3a973634-f779-40dc-b85a-2426372079b8" providerId="ADAL" clId="{2C911C95-778C-4399-92DB-F50EAB239CE0}" dt="2023-10-26T14:13:42.341" v="164" actId="167"/>
          <ac:spMkLst>
            <pc:docMk/>
            <pc:sldMk cId="2350900266" sldId="2147475603"/>
            <ac:spMk id="29" creationId="{CDA31ED0-7B83-90EC-F732-6AF6FCF2D392}"/>
          </ac:spMkLst>
        </pc:spChg>
        <pc:spChg chg="ord">
          <ac:chgData name="Michele Castorina" userId="3a973634-f779-40dc-b85a-2426372079b8" providerId="ADAL" clId="{2C911C95-778C-4399-92DB-F50EAB239CE0}" dt="2023-10-26T14:13:42.341" v="164" actId="167"/>
          <ac:spMkLst>
            <pc:docMk/>
            <pc:sldMk cId="2350900266" sldId="2147475603"/>
            <ac:spMk id="30" creationId="{41E57F68-AA0D-B72D-7482-024EC460BB96}"/>
          </ac:spMkLst>
        </pc:spChg>
        <pc:spChg chg="ord">
          <ac:chgData name="Michele Castorina" userId="3a973634-f779-40dc-b85a-2426372079b8" providerId="ADAL" clId="{2C911C95-778C-4399-92DB-F50EAB239CE0}" dt="2023-10-26T14:14:04.555" v="168" actId="167"/>
          <ac:spMkLst>
            <pc:docMk/>
            <pc:sldMk cId="2350900266" sldId="2147475603"/>
            <ac:spMk id="31" creationId="{5E3276E3-6521-BC61-26DE-A508AD170013}"/>
          </ac:spMkLst>
        </pc:spChg>
        <pc:spChg chg="ord">
          <ac:chgData name="Michele Castorina" userId="3a973634-f779-40dc-b85a-2426372079b8" providerId="ADAL" clId="{2C911C95-778C-4399-92DB-F50EAB239CE0}" dt="2023-10-26T14:13:56.994" v="167" actId="167"/>
          <ac:spMkLst>
            <pc:docMk/>
            <pc:sldMk cId="2350900266" sldId="2147475603"/>
            <ac:spMk id="32" creationId="{67AD4EE1-60B7-9EE5-3948-FF2BB6ED3FE1}"/>
          </ac:spMkLst>
        </pc:spChg>
      </pc:sldChg>
      <pc:sldChg chg="addSp delSp modSp new mod">
        <pc:chgData name="Michele Castorina" userId="3a973634-f779-40dc-b85a-2426372079b8" providerId="ADAL" clId="{2C911C95-778C-4399-92DB-F50EAB239CE0}" dt="2023-10-26T15:21:14.562" v="999" actId="20577"/>
        <pc:sldMkLst>
          <pc:docMk/>
          <pc:sldMk cId="2772539511" sldId="2147475604"/>
        </pc:sldMkLst>
        <pc:spChg chg="mod">
          <ac:chgData name="Michele Castorina" userId="3a973634-f779-40dc-b85a-2426372079b8" providerId="ADAL" clId="{2C911C95-778C-4399-92DB-F50EAB239CE0}" dt="2023-10-26T14:52:10.360" v="709" actId="20577"/>
          <ac:spMkLst>
            <pc:docMk/>
            <pc:sldMk cId="2772539511" sldId="2147475604"/>
            <ac:spMk id="2" creationId="{6D4ACE6A-9203-6363-864E-DC7F2D847E46}"/>
          </ac:spMkLst>
        </pc:spChg>
        <pc:spChg chg="mod">
          <ac:chgData name="Michele Castorina" userId="3a973634-f779-40dc-b85a-2426372079b8" providerId="ADAL" clId="{2C911C95-778C-4399-92DB-F50EAB239CE0}" dt="2023-10-26T15:21:14.562" v="999" actId="20577"/>
          <ac:spMkLst>
            <pc:docMk/>
            <pc:sldMk cId="2772539511" sldId="2147475604"/>
            <ac:spMk id="3" creationId="{E1D36B38-AD40-DA2F-3605-BE1BB1972E3A}"/>
          </ac:spMkLst>
        </pc:spChg>
        <pc:spChg chg="add del mod">
          <ac:chgData name="Michele Castorina" userId="3a973634-f779-40dc-b85a-2426372079b8" providerId="ADAL" clId="{2C911C95-778C-4399-92DB-F50EAB239CE0}" dt="2023-10-26T14:35:02.909" v="609"/>
          <ac:spMkLst>
            <pc:docMk/>
            <pc:sldMk cId="2772539511" sldId="2147475604"/>
            <ac:spMk id="4" creationId="{363AEC86-2F3F-E6AF-2B04-7A1F25D25923}"/>
          </ac:spMkLst>
        </pc:spChg>
        <pc:spChg chg="add del">
          <ac:chgData name="Michele Castorina" userId="3a973634-f779-40dc-b85a-2426372079b8" providerId="ADAL" clId="{2C911C95-778C-4399-92DB-F50EAB239CE0}" dt="2023-10-26T14:41:37.960" v="654"/>
          <ac:spMkLst>
            <pc:docMk/>
            <pc:sldMk cId="2772539511" sldId="2147475604"/>
            <ac:spMk id="7" creationId="{6C473E1B-4EE1-E287-A462-7E396B6CB36E}"/>
          </ac:spMkLst>
        </pc:spChg>
        <pc:picChg chg="add mod ord">
          <ac:chgData name="Michele Castorina" userId="3a973634-f779-40dc-b85a-2426372079b8" providerId="ADAL" clId="{2C911C95-778C-4399-92DB-F50EAB239CE0}" dt="2023-10-26T15:03:52.337" v="910" actId="167"/>
          <ac:picMkLst>
            <pc:docMk/>
            <pc:sldMk cId="2772539511" sldId="2147475604"/>
            <ac:picMk id="6" creationId="{DDE53EF1-55DA-67AC-652F-815B73BEF328}"/>
          </ac:picMkLst>
        </pc:picChg>
        <pc:picChg chg="add del mod">
          <ac:chgData name="Michele Castorina" userId="3a973634-f779-40dc-b85a-2426372079b8" providerId="ADAL" clId="{2C911C95-778C-4399-92DB-F50EAB239CE0}" dt="2023-10-26T14:44:57.101" v="657" actId="478"/>
          <ac:picMkLst>
            <pc:docMk/>
            <pc:sldMk cId="2772539511" sldId="2147475604"/>
            <ac:picMk id="9" creationId="{6B96B97E-6DFA-9482-2DAC-05766AC0D3EF}"/>
          </ac:picMkLst>
        </pc:picChg>
        <pc:picChg chg="add mod ord">
          <ac:chgData name="Michele Castorina" userId="3a973634-f779-40dc-b85a-2426372079b8" providerId="ADAL" clId="{2C911C95-778C-4399-92DB-F50EAB239CE0}" dt="2023-10-26T15:04:15.968" v="914" actId="1076"/>
          <ac:picMkLst>
            <pc:docMk/>
            <pc:sldMk cId="2772539511" sldId="2147475604"/>
            <ac:picMk id="11" creationId="{A18AA4DF-4FBE-A9A8-2042-0C132273625B}"/>
          </ac:picMkLst>
        </pc:picChg>
        <pc:picChg chg="add mod modCrop">
          <ac:chgData name="Michele Castorina" userId="3a973634-f779-40dc-b85a-2426372079b8" providerId="ADAL" clId="{2C911C95-778C-4399-92DB-F50EAB239CE0}" dt="2023-10-26T15:05:17.747" v="919" actId="732"/>
          <ac:picMkLst>
            <pc:docMk/>
            <pc:sldMk cId="2772539511" sldId="2147475604"/>
            <ac:picMk id="13" creationId="{34F6E611-36C0-C0F7-9B41-FABE12C424C8}"/>
          </ac:picMkLst>
        </pc:picChg>
        <pc:picChg chg="add mod">
          <ac:chgData name="Michele Castorina" userId="3a973634-f779-40dc-b85a-2426372079b8" providerId="ADAL" clId="{2C911C95-778C-4399-92DB-F50EAB239CE0}" dt="2023-10-26T15:04:18.947" v="915" actId="1076"/>
          <ac:picMkLst>
            <pc:docMk/>
            <pc:sldMk cId="2772539511" sldId="2147475604"/>
            <ac:picMk id="1026" creationId="{9AB16CB0-C7A4-4DF9-2125-6CADC87C4B1E}"/>
          </ac:picMkLst>
        </pc:picChg>
        <pc:picChg chg="add del">
          <ac:chgData name="Michele Castorina" userId="3a973634-f779-40dc-b85a-2426372079b8" providerId="ADAL" clId="{2C911C95-778C-4399-92DB-F50EAB239CE0}" dt="2023-10-26T14:37:16.808" v="623"/>
          <ac:picMkLst>
            <pc:docMk/>
            <pc:sldMk cId="2772539511" sldId="2147475604"/>
            <ac:picMk id="1028" creationId="{7AB6708D-5FDA-20BD-8D14-AACF1293F1D5}"/>
          </ac:picMkLst>
        </pc:picChg>
        <pc:picChg chg="add del">
          <ac:chgData name="Michele Castorina" userId="3a973634-f779-40dc-b85a-2426372079b8" providerId="ADAL" clId="{2C911C95-778C-4399-92DB-F50EAB239CE0}" dt="2023-10-26T14:37:45.109" v="625" actId="478"/>
          <ac:picMkLst>
            <pc:docMk/>
            <pc:sldMk cId="2772539511" sldId="2147475604"/>
            <ac:picMk id="1030" creationId="{9AEBEF4C-C5AB-A787-0E6E-0B8321FB0006}"/>
          </ac:picMkLst>
        </pc:picChg>
      </pc:sldChg>
      <pc:sldChg chg="add del">
        <pc:chgData name="Michele Castorina" userId="3a973634-f779-40dc-b85a-2426372079b8" providerId="ADAL" clId="{2C911C95-778C-4399-92DB-F50EAB239CE0}" dt="2023-10-26T14:47:36.108" v="683" actId="47"/>
        <pc:sldMkLst>
          <pc:docMk/>
          <pc:sldMk cId="2435174710" sldId="2147475605"/>
        </pc:sldMkLst>
      </pc:sldChg>
      <pc:sldChg chg="modSp add del mod">
        <pc:chgData name="Michele Castorina" userId="3a973634-f779-40dc-b85a-2426372079b8" providerId="ADAL" clId="{2C911C95-778C-4399-92DB-F50EAB239CE0}" dt="2023-10-26T15:00:03.727" v="784" actId="47"/>
        <pc:sldMkLst>
          <pc:docMk/>
          <pc:sldMk cId="1965786673" sldId="2147475606"/>
        </pc:sldMkLst>
        <pc:spChg chg="mod">
          <ac:chgData name="Michele Castorina" userId="3a973634-f779-40dc-b85a-2426372079b8" providerId="ADAL" clId="{2C911C95-778C-4399-92DB-F50EAB239CE0}" dt="2023-10-26T14:52:33.524" v="711" actId="21"/>
          <ac:spMkLst>
            <pc:docMk/>
            <pc:sldMk cId="1965786673" sldId="2147475606"/>
            <ac:spMk id="3" creationId="{E1D36B38-AD40-DA2F-3605-BE1BB1972E3A}"/>
          </ac:spMkLst>
        </pc:spChg>
      </pc:sldChg>
      <pc:sldChg chg="addSp delSp modSp add mod">
        <pc:chgData name="Michele Castorina" userId="3a973634-f779-40dc-b85a-2426372079b8" providerId="ADAL" clId="{2C911C95-778C-4399-92DB-F50EAB239CE0}" dt="2023-10-27T14:05:41.122" v="1606" actId="20577"/>
        <pc:sldMkLst>
          <pc:docMk/>
          <pc:sldMk cId="2813536158" sldId="2147475607"/>
        </pc:sldMkLst>
        <pc:spChg chg="mod">
          <ac:chgData name="Michele Castorina" userId="3a973634-f779-40dc-b85a-2426372079b8" providerId="ADAL" clId="{2C911C95-778C-4399-92DB-F50EAB239CE0}" dt="2023-10-26T15:16:40.057" v="989" actId="20577"/>
          <ac:spMkLst>
            <pc:docMk/>
            <pc:sldMk cId="2813536158" sldId="2147475607"/>
            <ac:spMk id="2" creationId="{6D4ACE6A-9203-6363-864E-DC7F2D847E46}"/>
          </ac:spMkLst>
        </pc:spChg>
        <pc:spChg chg="mod">
          <ac:chgData name="Michele Castorina" userId="3a973634-f779-40dc-b85a-2426372079b8" providerId="ADAL" clId="{2C911C95-778C-4399-92DB-F50EAB239CE0}" dt="2023-10-27T14:05:41.122" v="1606" actId="20577"/>
          <ac:spMkLst>
            <pc:docMk/>
            <pc:sldMk cId="2813536158" sldId="2147475607"/>
            <ac:spMk id="3" creationId="{E1D36B38-AD40-DA2F-3605-BE1BB1972E3A}"/>
          </ac:spMkLst>
        </pc:spChg>
        <pc:picChg chg="del">
          <ac:chgData name="Michele Castorina" userId="3a973634-f779-40dc-b85a-2426372079b8" providerId="ADAL" clId="{2C911C95-778C-4399-92DB-F50EAB239CE0}" dt="2023-10-26T14:55:00.316" v="729" actId="478"/>
          <ac:picMkLst>
            <pc:docMk/>
            <pc:sldMk cId="2813536158" sldId="2147475607"/>
            <ac:picMk id="6" creationId="{DDE53EF1-55DA-67AC-652F-815B73BEF328}"/>
          </ac:picMkLst>
        </pc:picChg>
        <pc:picChg chg="del">
          <ac:chgData name="Michele Castorina" userId="3a973634-f779-40dc-b85a-2426372079b8" providerId="ADAL" clId="{2C911C95-778C-4399-92DB-F50EAB239CE0}" dt="2023-10-26T14:55:01.936" v="730" actId="478"/>
          <ac:picMkLst>
            <pc:docMk/>
            <pc:sldMk cId="2813536158" sldId="2147475607"/>
            <ac:picMk id="11" creationId="{A18AA4DF-4FBE-A9A8-2042-0C132273625B}"/>
          </ac:picMkLst>
        </pc:picChg>
        <pc:picChg chg="del">
          <ac:chgData name="Michele Castorina" userId="3a973634-f779-40dc-b85a-2426372079b8" providerId="ADAL" clId="{2C911C95-778C-4399-92DB-F50EAB239CE0}" dt="2023-10-26T14:54:49.351" v="726" actId="478"/>
          <ac:picMkLst>
            <pc:docMk/>
            <pc:sldMk cId="2813536158" sldId="2147475607"/>
            <ac:picMk id="1026" creationId="{9AB16CB0-C7A4-4DF9-2125-6CADC87C4B1E}"/>
          </ac:picMkLst>
        </pc:picChg>
        <pc:picChg chg="add mod">
          <ac:chgData name="Michele Castorina" userId="3a973634-f779-40dc-b85a-2426372079b8" providerId="ADAL" clId="{2C911C95-778C-4399-92DB-F50EAB239CE0}" dt="2023-10-27T14:05:18.418" v="1596" actId="1076"/>
          <ac:picMkLst>
            <pc:docMk/>
            <pc:sldMk cId="2813536158" sldId="2147475607"/>
            <ac:picMk id="2050" creationId="{34633E1F-A94F-2C98-741E-4B900AA3D236}"/>
          </ac:picMkLst>
        </pc:picChg>
        <pc:picChg chg="add mod">
          <ac:chgData name="Michele Castorina" userId="3a973634-f779-40dc-b85a-2426372079b8" providerId="ADAL" clId="{2C911C95-778C-4399-92DB-F50EAB239CE0}" dt="2023-10-27T14:05:13.439" v="1594" actId="1076"/>
          <ac:picMkLst>
            <pc:docMk/>
            <pc:sldMk cId="2813536158" sldId="2147475607"/>
            <ac:picMk id="2052" creationId="{47417A55-37BF-301A-C559-8A472658BFC2}"/>
          </ac:picMkLst>
        </pc:picChg>
        <pc:picChg chg="add del">
          <ac:chgData name="Michele Castorina" userId="3a973634-f779-40dc-b85a-2426372079b8" providerId="ADAL" clId="{2C911C95-778C-4399-92DB-F50EAB239CE0}" dt="2023-10-26T14:59:41.119" v="779" actId="478"/>
          <ac:picMkLst>
            <pc:docMk/>
            <pc:sldMk cId="2813536158" sldId="2147475607"/>
            <ac:picMk id="2054" creationId="{9BC1A429-C30D-52DD-C3A1-8D6A97A6514C}"/>
          </ac:picMkLst>
        </pc:picChg>
        <pc:picChg chg="add mod">
          <ac:chgData name="Michele Castorina" userId="3a973634-f779-40dc-b85a-2426372079b8" providerId="ADAL" clId="{2C911C95-778C-4399-92DB-F50EAB239CE0}" dt="2023-10-27T14:05:20.422" v="1597" actId="1076"/>
          <ac:picMkLst>
            <pc:docMk/>
            <pc:sldMk cId="2813536158" sldId="2147475607"/>
            <ac:picMk id="2056" creationId="{549C081F-4273-E21F-A396-2550A8239FE6}"/>
          </ac:picMkLst>
        </pc:picChg>
      </pc:sldChg>
      <pc:sldChg chg="addSp modSp add mod">
        <pc:chgData name="Michele Castorina" userId="3a973634-f779-40dc-b85a-2426372079b8" providerId="ADAL" clId="{2C911C95-778C-4399-92DB-F50EAB239CE0}" dt="2023-10-27T13:25:23.225" v="1267" actId="1076"/>
        <pc:sldMkLst>
          <pc:docMk/>
          <pc:sldMk cId="3427509737" sldId="2147475608"/>
        </pc:sldMkLst>
        <pc:spChg chg="mod">
          <ac:chgData name="Michele Castorina" userId="3a973634-f779-40dc-b85a-2426372079b8" providerId="ADAL" clId="{2C911C95-778C-4399-92DB-F50EAB239CE0}" dt="2023-10-27T13:23:48.535" v="1260" actId="20577"/>
          <ac:spMkLst>
            <pc:docMk/>
            <pc:sldMk cId="3427509737" sldId="2147475608"/>
            <ac:spMk id="2" creationId="{4916A9DD-0B5D-47A8-74F1-D84BD01271B3}"/>
          </ac:spMkLst>
        </pc:spChg>
        <pc:spChg chg="add mod">
          <ac:chgData name="Michele Castorina" userId="3a973634-f779-40dc-b85a-2426372079b8" providerId="ADAL" clId="{2C911C95-778C-4399-92DB-F50EAB239CE0}" dt="2023-10-27T13:24:31.823" v="1263" actId="1076"/>
          <ac:spMkLst>
            <pc:docMk/>
            <pc:sldMk cId="3427509737" sldId="2147475608"/>
            <ac:spMk id="3" creationId="{152696F7-E8F5-7B21-25F0-4F92AB2B65DC}"/>
          </ac:spMkLst>
        </pc:spChg>
        <pc:spChg chg="mod">
          <ac:chgData name="Michele Castorina" userId="3a973634-f779-40dc-b85a-2426372079b8" providerId="ADAL" clId="{2C911C95-778C-4399-92DB-F50EAB239CE0}" dt="2023-10-27T13:25:23.225" v="1267" actId="1076"/>
          <ac:spMkLst>
            <pc:docMk/>
            <pc:sldMk cId="3427509737" sldId="2147475608"/>
            <ac:spMk id="32" creationId="{2F892B5B-1FA7-C3CD-A3F4-2B5389F6D847}"/>
          </ac:spMkLst>
        </pc:spChg>
        <pc:spChg chg="mod">
          <ac:chgData name="Michele Castorina" userId="3a973634-f779-40dc-b85a-2426372079b8" providerId="ADAL" clId="{2C911C95-778C-4399-92DB-F50EAB239CE0}" dt="2023-10-27T13:25:18.619" v="1266" actId="1076"/>
          <ac:spMkLst>
            <pc:docMk/>
            <pc:sldMk cId="3427509737" sldId="2147475608"/>
            <ac:spMk id="100" creationId="{BFAA140C-C453-A636-0238-010A97F23B68}"/>
          </ac:spMkLst>
        </pc:spChg>
        <pc:spChg chg="mod">
          <ac:chgData name="Michele Castorina" userId="3a973634-f779-40dc-b85a-2426372079b8" providerId="ADAL" clId="{2C911C95-778C-4399-92DB-F50EAB239CE0}" dt="2023-10-27T13:24:34.860" v="1264" actId="1076"/>
          <ac:spMkLst>
            <pc:docMk/>
            <pc:sldMk cId="3427509737" sldId="2147475608"/>
            <ac:spMk id="103" creationId="{A8BA4F11-5D02-6326-5F9C-1CE7E0091F7E}"/>
          </ac:spMkLst>
        </pc:spChg>
      </pc:sldChg>
      <pc:sldMasterChg chg="delSp mod delSldLayout modSldLayout">
        <pc:chgData name="Michele Castorina" userId="3a973634-f779-40dc-b85a-2426372079b8" providerId="ADAL" clId="{2C911C95-778C-4399-92DB-F50EAB239CE0}" dt="2023-10-26T14:51:44.415" v="708" actId="478"/>
        <pc:sldMasterMkLst>
          <pc:docMk/>
          <pc:sldMasterMk cId="1796584020" sldId="2147483693"/>
        </pc:sldMasterMkLst>
        <pc:spChg chg="del">
          <ac:chgData name="Michele Castorina" userId="3a973634-f779-40dc-b85a-2426372079b8" providerId="ADAL" clId="{2C911C95-778C-4399-92DB-F50EAB239CE0}" dt="2023-10-26T14:51:44.415" v="708" actId="478"/>
          <ac:spMkLst>
            <pc:docMk/>
            <pc:sldMasterMk cId="1796584020" sldId="2147483693"/>
            <ac:spMk id="5" creationId="{3570B3A9-D1FB-A506-7938-1CCDF09B43A8}"/>
          </ac:spMkLst>
        </pc:spChg>
        <pc:sldLayoutChg chg="setBg">
          <pc:chgData name="Michele Castorina" userId="3a973634-f779-40dc-b85a-2426372079b8" providerId="ADAL" clId="{2C911C95-778C-4399-92DB-F50EAB239CE0}" dt="2023-10-26T14:51:12.107" v="707"/>
          <pc:sldLayoutMkLst>
            <pc:docMk/>
            <pc:sldMasterMk cId="1796584020" sldId="2147483693"/>
            <pc:sldLayoutMk cId="1163899387" sldId="2147483695"/>
          </pc:sldLayoutMkLst>
        </pc:sldLayoutChg>
        <pc:sldLayoutChg chg="del">
          <pc:chgData name="Michele Castorina" userId="3a973634-f779-40dc-b85a-2426372079b8" providerId="ADAL" clId="{2C911C95-778C-4399-92DB-F50EAB239CE0}" dt="2023-10-26T14:49:17.881" v="697" actId="2696"/>
          <pc:sldLayoutMkLst>
            <pc:docMk/>
            <pc:sldMasterMk cId="1796584020" sldId="2147483693"/>
            <pc:sldLayoutMk cId="2033524842" sldId="2147483696"/>
          </pc:sldLayoutMkLst>
        </pc:sldLayoutChg>
        <pc:sldLayoutChg chg="del">
          <pc:chgData name="Michele Castorina" userId="3a973634-f779-40dc-b85a-2426372079b8" providerId="ADAL" clId="{2C911C95-778C-4399-92DB-F50EAB239CE0}" dt="2023-10-26T14:49:18.442" v="698" actId="2696"/>
          <pc:sldLayoutMkLst>
            <pc:docMk/>
            <pc:sldMasterMk cId="1796584020" sldId="2147483693"/>
            <pc:sldLayoutMk cId="2443119330" sldId="2147483697"/>
          </pc:sldLayoutMkLst>
        </pc:sldLayoutChg>
        <pc:sldLayoutChg chg="del">
          <pc:chgData name="Michele Castorina" userId="3a973634-f779-40dc-b85a-2426372079b8" providerId="ADAL" clId="{2C911C95-778C-4399-92DB-F50EAB239CE0}" dt="2023-10-26T14:49:18.867" v="699" actId="2696"/>
          <pc:sldLayoutMkLst>
            <pc:docMk/>
            <pc:sldMasterMk cId="1796584020" sldId="2147483693"/>
            <pc:sldLayoutMk cId="61525160" sldId="2147483698"/>
          </pc:sldLayoutMkLst>
        </pc:sldLayoutChg>
        <pc:sldLayoutChg chg="del">
          <pc:chgData name="Michele Castorina" userId="3a973634-f779-40dc-b85a-2426372079b8" providerId="ADAL" clId="{2C911C95-778C-4399-92DB-F50EAB239CE0}" dt="2023-10-26T14:49:19.229" v="700" actId="2696"/>
          <pc:sldLayoutMkLst>
            <pc:docMk/>
            <pc:sldMasterMk cId="1796584020" sldId="2147483693"/>
            <pc:sldLayoutMk cId="3026607587" sldId="2147483699"/>
          </pc:sldLayoutMkLst>
        </pc:sldLayoutChg>
        <pc:sldLayoutChg chg="del">
          <pc:chgData name="Michele Castorina" userId="3a973634-f779-40dc-b85a-2426372079b8" providerId="ADAL" clId="{2C911C95-778C-4399-92DB-F50EAB239CE0}" dt="2023-10-26T14:49:19.549" v="701" actId="2696"/>
          <pc:sldLayoutMkLst>
            <pc:docMk/>
            <pc:sldMasterMk cId="1796584020" sldId="2147483693"/>
            <pc:sldLayoutMk cId="2701592301" sldId="2147483700"/>
          </pc:sldLayoutMkLst>
        </pc:sldLayoutChg>
        <pc:sldLayoutChg chg="del">
          <pc:chgData name="Michele Castorina" userId="3a973634-f779-40dc-b85a-2426372079b8" providerId="ADAL" clId="{2C911C95-778C-4399-92DB-F50EAB239CE0}" dt="2023-10-26T14:49:19.924" v="702" actId="2696"/>
          <pc:sldLayoutMkLst>
            <pc:docMk/>
            <pc:sldMasterMk cId="1796584020" sldId="2147483693"/>
            <pc:sldLayoutMk cId="51814441" sldId="2147483701"/>
          </pc:sldLayoutMkLst>
        </pc:sldLayoutChg>
        <pc:sldLayoutChg chg="del">
          <pc:chgData name="Michele Castorina" userId="3a973634-f779-40dc-b85a-2426372079b8" providerId="ADAL" clId="{2C911C95-778C-4399-92DB-F50EAB239CE0}" dt="2023-10-26T14:49:20.138" v="703" actId="2696"/>
          <pc:sldLayoutMkLst>
            <pc:docMk/>
            <pc:sldMasterMk cId="1796584020" sldId="2147483693"/>
            <pc:sldLayoutMk cId="1835215764" sldId="2147483702"/>
          </pc:sldLayoutMkLst>
        </pc:sldLayoutChg>
        <pc:sldLayoutChg chg="del">
          <pc:chgData name="Michele Castorina" userId="3a973634-f779-40dc-b85a-2426372079b8" providerId="ADAL" clId="{2C911C95-778C-4399-92DB-F50EAB239CE0}" dt="2023-10-26T14:49:20.321" v="704" actId="2696"/>
          <pc:sldLayoutMkLst>
            <pc:docMk/>
            <pc:sldMasterMk cId="1796584020" sldId="2147483693"/>
            <pc:sldLayoutMk cId="2348304014" sldId="2147483703"/>
          </pc:sldLayoutMkLst>
        </pc:sldLayoutChg>
        <pc:sldLayoutChg chg="del">
          <pc:chgData name="Michele Castorina" userId="3a973634-f779-40dc-b85a-2426372079b8" providerId="ADAL" clId="{2C911C95-778C-4399-92DB-F50EAB239CE0}" dt="2023-10-26T14:49:21.061" v="705" actId="2696"/>
          <pc:sldLayoutMkLst>
            <pc:docMk/>
            <pc:sldMasterMk cId="1796584020" sldId="2147483693"/>
            <pc:sldLayoutMk cId="1976471285" sldId="2147483704"/>
          </pc:sldLayoutMkLst>
        </pc:sldLayoutChg>
        <pc:sldLayoutChg chg="del">
          <pc:chgData name="Michele Castorina" userId="3a973634-f779-40dc-b85a-2426372079b8" providerId="ADAL" clId="{2C911C95-778C-4399-92DB-F50EAB239CE0}" dt="2023-10-26T14:06:36.561" v="91" actId="47"/>
          <pc:sldLayoutMkLst>
            <pc:docMk/>
            <pc:sldMasterMk cId="1796584020" sldId="2147483693"/>
            <pc:sldLayoutMk cId="717070841" sldId="2147483705"/>
          </pc:sldLayoutMkLst>
        </pc:sldLayoutChg>
        <pc:sldLayoutChg chg="del">
          <pc:chgData name="Michele Castorina" userId="3a973634-f779-40dc-b85a-2426372079b8" providerId="ADAL" clId="{2C911C95-778C-4399-92DB-F50EAB239CE0}" dt="2023-10-26T13:57:27.008" v="8" actId="47"/>
          <pc:sldLayoutMkLst>
            <pc:docMk/>
            <pc:sldMasterMk cId="1796584020" sldId="2147483693"/>
            <pc:sldLayoutMk cId="2657189116" sldId="2147483705"/>
          </pc:sldLayoutMkLst>
        </pc:sldLayoutChg>
      </pc:sldMasterChg>
    </pc:docChg>
  </pc:docChgLst>
  <pc:docChgLst>
    <pc:chgData name="Michele Castorina" userId="3a973634-f779-40dc-b85a-2426372079b8" providerId="ADAL" clId="{6B14F14F-2533-49EB-98AA-F94940DC682A}"/>
    <pc:docChg chg="modSld sldOrd">
      <pc:chgData name="Michele Castorina" userId="3a973634-f779-40dc-b85a-2426372079b8" providerId="ADAL" clId="{6B14F14F-2533-49EB-98AA-F94940DC682A}" dt="2023-10-27T14:08:11.650" v="23" actId="1076"/>
      <pc:docMkLst>
        <pc:docMk/>
      </pc:docMkLst>
      <pc:sldChg chg="modSp mod ord">
        <pc:chgData name="Michele Castorina" userId="3a973634-f779-40dc-b85a-2426372079b8" providerId="ADAL" clId="{6B14F14F-2533-49EB-98AA-F94940DC682A}" dt="2023-10-27T14:08:11.650" v="23" actId="1076"/>
        <pc:sldMkLst>
          <pc:docMk/>
          <pc:sldMk cId="2772539511" sldId="2147475604"/>
        </pc:sldMkLst>
        <pc:spChg chg="mod">
          <ac:chgData name="Michele Castorina" userId="3a973634-f779-40dc-b85a-2426372079b8" providerId="ADAL" clId="{6B14F14F-2533-49EB-98AA-F94940DC682A}" dt="2023-10-27T14:07:59.727" v="20" actId="20577"/>
          <ac:spMkLst>
            <pc:docMk/>
            <pc:sldMk cId="2772539511" sldId="2147475604"/>
            <ac:spMk id="3" creationId="{E1D36B38-AD40-DA2F-3605-BE1BB1972E3A}"/>
          </ac:spMkLst>
        </pc:spChg>
        <pc:picChg chg="mod">
          <ac:chgData name="Michele Castorina" userId="3a973634-f779-40dc-b85a-2426372079b8" providerId="ADAL" clId="{6B14F14F-2533-49EB-98AA-F94940DC682A}" dt="2023-10-27T14:08:08.351" v="22" actId="1076"/>
          <ac:picMkLst>
            <pc:docMk/>
            <pc:sldMk cId="2772539511" sldId="2147475604"/>
            <ac:picMk id="6" creationId="{DDE53EF1-55DA-67AC-652F-815B73BEF328}"/>
          </ac:picMkLst>
        </pc:picChg>
        <pc:picChg chg="mod">
          <ac:chgData name="Michele Castorina" userId="3a973634-f779-40dc-b85a-2426372079b8" providerId="ADAL" clId="{6B14F14F-2533-49EB-98AA-F94940DC682A}" dt="2023-10-27T14:08:11.650" v="23" actId="1076"/>
          <ac:picMkLst>
            <pc:docMk/>
            <pc:sldMk cId="2772539511" sldId="2147475604"/>
            <ac:picMk id="11" creationId="{A18AA4DF-4FBE-A9A8-2042-0C132273625B}"/>
          </ac:picMkLst>
        </pc:picChg>
        <pc:picChg chg="mod">
          <ac:chgData name="Michele Castorina" userId="3a973634-f779-40dc-b85a-2426372079b8" providerId="ADAL" clId="{6B14F14F-2533-49EB-98AA-F94940DC682A}" dt="2023-10-27T14:08:06.562" v="21" actId="1076"/>
          <ac:picMkLst>
            <pc:docMk/>
            <pc:sldMk cId="2772539511" sldId="2147475604"/>
            <ac:picMk id="1026" creationId="{9AB16CB0-C7A4-4DF9-2125-6CADC87C4B1E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VALUE</c:v>
                </c:pt>
              </c:strCache>
            </c:strRef>
          </c:tx>
          <c:spPr>
            <a:ln>
              <a:noFill/>
            </a:ln>
            <a:effectLst/>
            <a:scene3d>
              <a:camera prst="orthographicFront"/>
              <a:lightRig rig="threePt" dir="t"/>
            </a:scene3d>
            <a:sp3d prstMaterial="matte"/>
          </c:spPr>
          <c:explosion val="5"/>
          <c:dPt>
            <c:idx val="0"/>
            <c:bubble3D val="0"/>
            <c:spPr>
              <a:solidFill>
                <a:srgbClr val="76C8AE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1-741F-47C1-9996-DF6877D07366}"/>
              </c:ext>
            </c:extLst>
          </c:dPt>
          <c:dPt>
            <c:idx val="1"/>
            <c:bubble3D val="0"/>
            <c:spPr>
              <a:solidFill>
                <a:srgbClr val="00AE9D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3-741F-47C1-9996-DF6877D07366}"/>
              </c:ext>
            </c:extLst>
          </c:dPt>
          <c:dPt>
            <c:idx val="2"/>
            <c:bubble3D val="0"/>
            <c:spPr>
              <a:solidFill>
                <a:srgbClr val="008E7A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5-741F-47C1-9996-DF6877D07366}"/>
              </c:ext>
            </c:extLst>
          </c:dPt>
          <c:dPt>
            <c:idx val="3"/>
            <c:bubble3D val="0"/>
            <c:spPr>
              <a:solidFill>
                <a:srgbClr val="006762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7-741F-47C1-9996-DF6877D07366}"/>
              </c:ext>
            </c:extLst>
          </c:dPt>
          <c:dPt>
            <c:idx val="4"/>
            <c:bubble3D val="0"/>
            <c:spPr>
              <a:solidFill>
                <a:srgbClr val="FFCC4E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9-741F-47C1-9996-DF6877D07366}"/>
              </c:ext>
            </c:extLst>
          </c:dPt>
          <c:dPt>
            <c:idx val="5"/>
            <c:bubble3D val="0"/>
            <c:spPr>
              <a:solidFill>
                <a:srgbClr val="FBAB18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B-741F-47C1-9996-DF6877D07366}"/>
              </c:ext>
            </c:extLst>
          </c:dPt>
          <c:dPt>
            <c:idx val="6"/>
            <c:bubble3D val="0"/>
            <c:spPr>
              <a:solidFill>
                <a:srgbClr val="F47920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D-741F-47C1-9996-DF6877D07366}"/>
              </c:ext>
            </c:extLst>
          </c:dPt>
          <c:dPt>
            <c:idx val="7"/>
            <c:bubble3D val="0"/>
            <c:spPr>
              <a:solidFill>
                <a:srgbClr val="A75534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F-741F-47C1-9996-DF6877D07366}"/>
              </c:ext>
            </c:extLst>
          </c:dPt>
          <c:dPt>
            <c:idx val="8"/>
            <c:bubble3D val="0"/>
            <c:spPr>
              <a:solidFill>
                <a:srgbClr val="F1666A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1-741F-47C1-9996-DF6877D07366}"/>
              </c:ext>
            </c:extLst>
          </c:dPt>
          <c:dPt>
            <c:idx val="9"/>
            <c:bubble3D val="0"/>
            <c:spPr>
              <a:solidFill>
                <a:srgbClr val="ED1B2F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3-741F-47C1-9996-DF6877D07366}"/>
              </c:ext>
            </c:extLst>
          </c:dPt>
          <c:dPt>
            <c:idx val="10"/>
            <c:bubble3D val="0"/>
            <c:spPr>
              <a:solidFill>
                <a:srgbClr val="CF1D39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5-741F-47C1-9996-DF6877D07366}"/>
              </c:ext>
            </c:extLst>
          </c:dPt>
          <c:dPt>
            <c:idx val="11"/>
            <c:bubble3D val="0"/>
            <c:spPr>
              <a:solidFill>
                <a:srgbClr val="960136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7-741F-47C1-9996-DF6877D07366}"/>
              </c:ext>
            </c:extLst>
          </c:dPt>
          <c:dPt>
            <c:idx val="12"/>
            <c:bubble3D val="0"/>
            <c:spPr>
              <a:solidFill>
                <a:srgbClr val="6DCFF6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9-741F-47C1-9996-DF6877D07366}"/>
              </c:ext>
            </c:extLst>
          </c:dPt>
          <c:dPt>
            <c:idx val="13"/>
            <c:bubble3D val="0"/>
            <c:spPr>
              <a:solidFill>
                <a:srgbClr val="009BDB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B-741F-47C1-9996-DF6877D07366}"/>
              </c:ext>
            </c:extLst>
          </c:dPt>
          <c:dPt>
            <c:idx val="14"/>
            <c:bubble3D val="0"/>
            <c:spPr>
              <a:solidFill>
                <a:srgbClr val="00619E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D-741F-47C1-9996-DF6877D07366}"/>
              </c:ext>
            </c:extLst>
          </c:dPt>
          <c:dPt>
            <c:idx val="15"/>
            <c:bubble3D val="0"/>
            <c:spPr>
              <a:solidFill>
                <a:srgbClr val="1E3378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F-741F-47C1-9996-DF6877D07366}"/>
              </c:ext>
            </c:extLst>
          </c:dPt>
          <c:dPt>
            <c:idx val="16"/>
            <c:bubble3D val="0"/>
            <c:spPr>
              <a:solidFill>
                <a:srgbClr val="76C8AE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1-741F-47C1-9996-DF6877D07366}"/>
              </c:ext>
            </c:extLst>
          </c:dPt>
          <c:dPt>
            <c:idx val="17"/>
            <c:bubble3D val="0"/>
            <c:spPr>
              <a:solidFill>
                <a:srgbClr val="00AE9D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3-741F-47C1-9996-DF6877D07366}"/>
              </c:ext>
            </c:extLst>
          </c:dPt>
          <c:dPt>
            <c:idx val="18"/>
            <c:bubble3D val="0"/>
            <c:spPr>
              <a:solidFill>
                <a:srgbClr val="008E7A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5-741F-47C1-9996-DF6877D07366}"/>
              </c:ext>
            </c:extLst>
          </c:dPt>
          <c:dPt>
            <c:idx val="19"/>
            <c:bubble3D val="0"/>
            <c:spPr>
              <a:solidFill>
                <a:srgbClr val="006762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7-741F-47C1-9996-DF6877D07366}"/>
              </c:ext>
            </c:extLst>
          </c:dPt>
          <c:dPt>
            <c:idx val="20"/>
            <c:bubble3D val="0"/>
            <c:spPr>
              <a:solidFill>
                <a:srgbClr val="FFCC4E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9-741F-47C1-9996-DF6877D07366}"/>
              </c:ext>
            </c:extLst>
          </c:dPt>
          <c:dPt>
            <c:idx val="21"/>
            <c:bubble3D val="0"/>
            <c:spPr>
              <a:solidFill>
                <a:srgbClr val="FFDE00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B-741F-47C1-9996-DF6877D07366}"/>
              </c:ext>
            </c:extLst>
          </c:dPt>
          <c:dPt>
            <c:idx val="22"/>
            <c:bubble3D val="0"/>
            <c:spPr>
              <a:solidFill>
                <a:srgbClr val="F47920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D-741F-47C1-9996-DF6877D07366}"/>
              </c:ext>
            </c:extLst>
          </c:dPt>
          <c:dPt>
            <c:idx val="23"/>
            <c:bubble3D val="0"/>
            <c:spPr>
              <a:solidFill>
                <a:srgbClr val="A75534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F-741F-47C1-9996-DF6877D07366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1-741F-47C1-9996-DF6877D07366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2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3-741F-47C1-9996-DF6877D07366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3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5-741F-47C1-9996-DF6877D07366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4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7-741F-47C1-9996-DF6877D07366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5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9-741F-47C1-9996-DF6877D07366}"/>
                </c:ext>
              </c:extLst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6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B-741F-47C1-9996-DF6877D07366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1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D-741F-47C1-9996-DF6877D07366}"/>
                </c:ext>
              </c:extLst>
            </c:dLbl>
            <c:dLbl>
              <c:idx val="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2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F-741F-47C1-9996-DF6877D07366}"/>
                </c:ext>
              </c:extLst>
            </c:dLbl>
            <c:dLbl>
              <c:idx val="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3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1-741F-47C1-9996-DF6877D07366}"/>
                </c:ext>
              </c:extLst>
            </c:dLbl>
            <c:dLbl>
              <c:idx val="9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4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3-741F-47C1-9996-DF6877D07366}"/>
                </c:ext>
              </c:extLst>
            </c:dLbl>
            <c:dLbl>
              <c:idx val="1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5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5-741F-47C1-9996-DF6877D07366}"/>
                </c:ext>
              </c:extLst>
            </c:dLbl>
            <c:dLbl>
              <c:idx val="1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6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7-741F-47C1-9996-DF6877D07366}"/>
                </c:ext>
              </c:extLst>
            </c:dLbl>
            <c:dLbl>
              <c:idx val="1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1">
                          <a:lumMod val="80000"/>
                          <a:lumOff val="2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9-741F-47C1-9996-DF6877D07366}"/>
                </c:ext>
              </c:extLst>
            </c:dLbl>
            <c:dLbl>
              <c:idx val="1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2">
                          <a:lumMod val="80000"/>
                          <a:lumOff val="2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B-741F-47C1-9996-DF6877D07366}"/>
                </c:ext>
              </c:extLst>
            </c:dLbl>
            <c:dLbl>
              <c:idx val="1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3">
                          <a:lumMod val="80000"/>
                          <a:lumOff val="2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D-741F-47C1-9996-DF6877D07366}"/>
                </c:ext>
              </c:extLst>
            </c:dLbl>
            <c:dLbl>
              <c:idx val="1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4">
                          <a:lumMod val="80000"/>
                          <a:lumOff val="2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F-741F-47C1-9996-DF6877D07366}"/>
                </c:ext>
              </c:extLst>
            </c:dLbl>
            <c:dLbl>
              <c:idx val="1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5">
                          <a:lumMod val="80000"/>
                          <a:lumOff val="2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1-741F-47C1-9996-DF6877D07366}"/>
                </c:ext>
              </c:extLst>
            </c:dLbl>
            <c:dLbl>
              <c:idx val="1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6">
                          <a:lumMod val="80000"/>
                          <a:lumOff val="2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3-741F-47C1-9996-DF6877D07366}"/>
                </c:ext>
              </c:extLst>
            </c:dLbl>
            <c:dLbl>
              <c:idx val="1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1">
                          <a:lumMod val="8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5-741F-47C1-9996-DF6877D07366}"/>
                </c:ext>
              </c:extLst>
            </c:dLbl>
            <c:dLbl>
              <c:idx val="19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2">
                          <a:lumMod val="8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7-741F-47C1-9996-DF6877D07366}"/>
                </c:ext>
              </c:extLst>
            </c:dLbl>
            <c:dLbl>
              <c:idx val="2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3">
                          <a:lumMod val="8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9-741F-47C1-9996-DF6877D07366}"/>
                </c:ext>
              </c:extLst>
            </c:dLbl>
            <c:dLbl>
              <c:idx val="2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4">
                          <a:lumMod val="8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B-741F-47C1-9996-DF6877D07366}"/>
                </c:ext>
              </c:extLst>
            </c:dLbl>
            <c:dLbl>
              <c:idx val="2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5">
                          <a:lumMod val="8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D-741F-47C1-9996-DF6877D07366}"/>
                </c:ext>
              </c:extLst>
            </c:dLbl>
            <c:dLbl>
              <c:idx val="2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6">
                          <a:lumMod val="8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F-741F-47C1-9996-DF6877D0736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30" b="1" i="0" u="sng" strike="noStrike" kern="1200" spc="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1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25</c:f>
              <c:strCache>
                <c:ptCount val="24"/>
                <c:pt idx="0">
                  <c:v>1st Entry</c:v>
                </c:pt>
                <c:pt idx="1">
                  <c:v>2nd Entry</c:v>
                </c:pt>
                <c:pt idx="2">
                  <c:v>3rd Entry</c:v>
                </c:pt>
                <c:pt idx="3">
                  <c:v>4th Entry</c:v>
                </c:pt>
                <c:pt idx="4">
                  <c:v>5th Entry</c:v>
                </c:pt>
                <c:pt idx="5">
                  <c:v>6th Entry</c:v>
                </c:pt>
                <c:pt idx="6">
                  <c:v>7th Entry</c:v>
                </c:pt>
                <c:pt idx="7">
                  <c:v>8th Entry</c:v>
                </c:pt>
                <c:pt idx="8">
                  <c:v>9th Entry</c:v>
                </c:pt>
                <c:pt idx="9">
                  <c:v>10th Entry</c:v>
                </c:pt>
                <c:pt idx="10">
                  <c:v>11th Entry</c:v>
                </c:pt>
                <c:pt idx="11">
                  <c:v>12th Entry</c:v>
                </c:pt>
                <c:pt idx="12">
                  <c:v>13th Entry</c:v>
                </c:pt>
                <c:pt idx="13">
                  <c:v>14th Entry</c:v>
                </c:pt>
                <c:pt idx="14">
                  <c:v>15th Entry</c:v>
                </c:pt>
                <c:pt idx="15">
                  <c:v>16th Entry</c:v>
                </c:pt>
                <c:pt idx="16">
                  <c:v>17th Entry</c:v>
                </c:pt>
                <c:pt idx="17">
                  <c:v>18th Entry</c:v>
                </c:pt>
                <c:pt idx="18">
                  <c:v>19th Entry</c:v>
                </c:pt>
                <c:pt idx="19">
                  <c:v>20th Entry</c:v>
                </c:pt>
                <c:pt idx="20">
                  <c:v>21th Entry</c:v>
                </c:pt>
                <c:pt idx="21">
                  <c:v>22th Entry</c:v>
                </c:pt>
                <c:pt idx="22">
                  <c:v>23th Entry</c:v>
                </c:pt>
                <c:pt idx="23">
                  <c:v>24th Entry</c:v>
                </c:pt>
              </c:strCache>
            </c:strRef>
          </c:cat>
          <c:val>
            <c:numRef>
              <c:f>Sheet1!$B$2:$B$25</c:f>
              <c:numCache>
                <c:formatCode>General</c:formatCode>
                <c:ptCount val="24"/>
                <c:pt idx="0">
                  <c:v>10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0</c:v>
                </c:pt>
                <c:pt idx="8">
                  <c:v>10</c:v>
                </c:pt>
                <c:pt idx="9">
                  <c:v>10</c:v>
                </c:pt>
                <c:pt idx="10">
                  <c:v>10</c:v>
                </c:pt>
                <c:pt idx="11">
                  <c:v>10</c:v>
                </c:pt>
                <c:pt idx="12">
                  <c:v>10</c:v>
                </c:pt>
                <c:pt idx="13">
                  <c:v>10</c:v>
                </c:pt>
                <c:pt idx="14">
                  <c:v>10</c:v>
                </c:pt>
                <c:pt idx="15">
                  <c:v>10</c:v>
                </c:pt>
                <c:pt idx="16">
                  <c:v>10</c:v>
                </c:pt>
                <c:pt idx="17">
                  <c:v>10</c:v>
                </c:pt>
                <c:pt idx="18">
                  <c:v>10</c:v>
                </c:pt>
                <c:pt idx="19">
                  <c:v>10</c:v>
                </c:pt>
                <c:pt idx="20">
                  <c:v>10</c:v>
                </c:pt>
                <c:pt idx="21">
                  <c:v>10</c:v>
                </c:pt>
                <c:pt idx="22">
                  <c:v>10</c:v>
                </c:pt>
                <c:pt idx="23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0-741F-47C1-9996-DF6877D07366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u="sng"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0"/>
    </c:view3D>
    <c:floor>
      <c:thickness val="0"/>
      <c:spPr>
        <a:solidFill>
          <a:schemeClr val="accent1">
            <a:alpha val="30000"/>
          </a:schemeClr>
        </a:solidFill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3.7916454801487282E-2"/>
          <c:y val="5.9660478663425089E-2"/>
          <c:w val="0.93792021248511792"/>
          <c:h val="0.59391513796661655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ALUE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  <a:sp3d/>
          </c:spPr>
          <c:invertIfNegative val="0"/>
          <c:dPt>
            <c:idx val="0"/>
            <c:invertIfNegative val="0"/>
            <c:bubble3D val="0"/>
            <c:spPr>
              <a:solidFill>
                <a:srgbClr val="76C8AE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1-1504-4AAD-8BCA-155C626759E1}"/>
              </c:ext>
            </c:extLst>
          </c:dPt>
          <c:dPt>
            <c:idx val="1"/>
            <c:invertIfNegative val="0"/>
            <c:bubble3D val="0"/>
            <c:spPr>
              <a:solidFill>
                <a:srgbClr val="00AE9D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3-1504-4AAD-8BCA-155C626759E1}"/>
              </c:ext>
            </c:extLst>
          </c:dPt>
          <c:dPt>
            <c:idx val="2"/>
            <c:invertIfNegative val="0"/>
            <c:bubble3D val="0"/>
            <c:spPr>
              <a:solidFill>
                <a:srgbClr val="008E7A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5-1504-4AAD-8BCA-155C626759E1}"/>
              </c:ext>
            </c:extLst>
          </c:dPt>
          <c:dPt>
            <c:idx val="3"/>
            <c:invertIfNegative val="0"/>
            <c:bubble3D val="0"/>
            <c:spPr>
              <a:solidFill>
                <a:srgbClr val="006762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7-1504-4AAD-8BCA-155C626759E1}"/>
              </c:ext>
            </c:extLst>
          </c:dPt>
          <c:dPt>
            <c:idx val="4"/>
            <c:invertIfNegative val="0"/>
            <c:bubble3D val="0"/>
            <c:spPr>
              <a:solidFill>
                <a:srgbClr val="FFCC4E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9-1504-4AAD-8BCA-155C626759E1}"/>
              </c:ext>
            </c:extLst>
          </c:dPt>
          <c:dPt>
            <c:idx val="5"/>
            <c:invertIfNegative val="0"/>
            <c:bubble3D val="0"/>
            <c:spPr>
              <a:solidFill>
                <a:srgbClr val="FBAB18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B-1504-4AAD-8BCA-155C626759E1}"/>
              </c:ext>
            </c:extLst>
          </c:dPt>
          <c:dPt>
            <c:idx val="6"/>
            <c:invertIfNegative val="0"/>
            <c:bubble3D val="0"/>
            <c:spPr>
              <a:solidFill>
                <a:srgbClr val="F47920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D-1504-4AAD-8BCA-155C626759E1}"/>
              </c:ext>
            </c:extLst>
          </c:dPt>
          <c:dPt>
            <c:idx val="7"/>
            <c:invertIfNegative val="0"/>
            <c:bubble3D val="0"/>
            <c:spPr>
              <a:solidFill>
                <a:srgbClr val="A75534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F-1504-4AAD-8BCA-155C626759E1}"/>
              </c:ext>
            </c:extLst>
          </c:dPt>
          <c:dPt>
            <c:idx val="8"/>
            <c:invertIfNegative val="0"/>
            <c:bubble3D val="0"/>
            <c:spPr>
              <a:solidFill>
                <a:srgbClr val="F1666A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1-1504-4AAD-8BCA-155C626759E1}"/>
              </c:ext>
            </c:extLst>
          </c:dPt>
          <c:dPt>
            <c:idx val="9"/>
            <c:invertIfNegative val="0"/>
            <c:bubble3D val="0"/>
            <c:spPr>
              <a:solidFill>
                <a:srgbClr val="ED1B2F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3-1504-4AAD-8BCA-155C626759E1}"/>
              </c:ext>
            </c:extLst>
          </c:dPt>
          <c:dPt>
            <c:idx val="10"/>
            <c:invertIfNegative val="0"/>
            <c:bubble3D val="0"/>
            <c:spPr>
              <a:solidFill>
                <a:srgbClr val="CF1D39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5-1504-4AAD-8BCA-155C626759E1}"/>
              </c:ext>
            </c:extLst>
          </c:dPt>
          <c:dPt>
            <c:idx val="11"/>
            <c:invertIfNegative val="0"/>
            <c:bubble3D val="0"/>
            <c:spPr>
              <a:solidFill>
                <a:srgbClr val="960136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7-1504-4AAD-8BCA-155C626759E1}"/>
              </c:ext>
            </c:extLst>
          </c:dPt>
          <c:dPt>
            <c:idx val="12"/>
            <c:invertIfNegative val="0"/>
            <c:bubble3D val="0"/>
            <c:spPr>
              <a:solidFill>
                <a:srgbClr val="6DCFF6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9-1504-4AAD-8BCA-155C626759E1}"/>
              </c:ext>
            </c:extLst>
          </c:dPt>
          <c:dPt>
            <c:idx val="13"/>
            <c:invertIfNegative val="0"/>
            <c:bubble3D val="0"/>
            <c:spPr>
              <a:solidFill>
                <a:srgbClr val="009BDB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B-1504-4AAD-8BCA-155C626759E1}"/>
              </c:ext>
            </c:extLst>
          </c:dPt>
          <c:dPt>
            <c:idx val="14"/>
            <c:invertIfNegative val="0"/>
            <c:bubble3D val="0"/>
            <c:spPr>
              <a:solidFill>
                <a:srgbClr val="00619E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D-1504-4AAD-8BCA-155C626759E1}"/>
              </c:ext>
            </c:extLst>
          </c:dPt>
          <c:dPt>
            <c:idx val="15"/>
            <c:invertIfNegative val="0"/>
            <c:bubble3D val="0"/>
            <c:spPr>
              <a:solidFill>
                <a:srgbClr val="1E3378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F-1504-4AAD-8BCA-155C626759E1}"/>
              </c:ext>
            </c:extLst>
          </c:dPt>
          <c:dPt>
            <c:idx val="16"/>
            <c:invertIfNegative val="0"/>
            <c:bubble3D val="0"/>
            <c:spPr>
              <a:solidFill>
                <a:srgbClr val="76C8AE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1-1504-4AAD-8BCA-155C626759E1}"/>
              </c:ext>
            </c:extLst>
          </c:dPt>
          <c:dPt>
            <c:idx val="17"/>
            <c:invertIfNegative val="0"/>
            <c:bubble3D val="0"/>
            <c:spPr>
              <a:solidFill>
                <a:srgbClr val="00AE9D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3-1504-4AAD-8BCA-155C626759E1}"/>
              </c:ext>
            </c:extLst>
          </c:dPt>
          <c:dPt>
            <c:idx val="18"/>
            <c:invertIfNegative val="0"/>
            <c:bubble3D val="0"/>
            <c:spPr>
              <a:solidFill>
                <a:srgbClr val="008E7A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5-1504-4AAD-8BCA-155C626759E1}"/>
              </c:ext>
            </c:extLst>
          </c:dPt>
          <c:dPt>
            <c:idx val="19"/>
            <c:invertIfNegative val="0"/>
            <c:bubble3D val="0"/>
            <c:spPr>
              <a:solidFill>
                <a:srgbClr val="006762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7-1504-4AAD-8BCA-155C626759E1}"/>
              </c:ext>
            </c:extLst>
          </c:dPt>
          <c:dPt>
            <c:idx val="20"/>
            <c:invertIfNegative val="0"/>
            <c:bubble3D val="0"/>
            <c:spPr>
              <a:solidFill>
                <a:srgbClr val="FFCC4E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9-1504-4AAD-8BCA-155C626759E1}"/>
              </c:ext>
            </c:extLst>
          </c:dPt>
          <c:dPt>
            <c:idx val="21"/>
            <c:invertIfNegative val="0"/>
            <c:bubble3D val="0"/>
            <c:spPr>
              <a:solidFill>
                <a:srgbClr val="FBAB18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B-1504-4AAD-8BCA-155C626759E1}"/>
              </c:ext>
            </c:extLst>
          </c:dPt>
          <c:dPt>
            <c:idx val="22"/>
            <c:invertIfNegative val="0"/>
            <c:bubble3D val="0"/>
            <c:spPr>
              <a:solidFill>
                <a:srgbClr val="F47920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D-1504-4AAD-8BCA-155C626759E1}"/>
              </c:ext>
            </c:extLst>
          </c:dPt>
          <c:dPt>
            <c:idx val="23"/>
            <c:invertIfNegative val="0"/>
            <c:bubble3D val="0"/>
            <c:spPr>
              <a:solidFill>
                <a:srgbClr val="A75534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F-1504-4AAD-8BCA-155C626759E1}"/>
              </c:ext>
            </c:extLst>
          </c:dPt>
          <c:cat>
            <c:strRef>
              <c:f>Sheet1!$A$2:$A$25</c:f>
              <c:strCache>
                <c:ptCount val="24"/>
                <c:pt idx="0">
                  <c:v>1st Entry</c:v>
                </c:pt>
                <c:pt idx="1">
                  <c:v>2nd Entry</c:v>
                </c:pt>
                <c:pt idx="2">
                  <c:v>3rd Entry</c:v>
                </c:pt>
                <c:pt idx="3">
                  <c:v>4th Entry</c:v>
                </c:pt>
                <c:pt idx="4">
                  <c:v>5th Entry</c:v>
                </c:pt>
                <c:pt idx="5">
                  <c:v>6th Entry</c:v>
                </c:pt>
                <c:pt idx="6">
                  <c:v>7th Entry</c:v>
                </c:pt>
                <c:pt idx="7">
                  <c:v>8th Entry</c:v>
                </c:pt>
                <c:pt idx="8">
                  <c:v>9th Entry</c:v>
                </c:pt>
                <c:pt idx="9">
                  <c:v>10th Entry</c:v>
                </c:pt>
                <c:pt idx="10">
                  <c:v>11th Entry</c:v>
                </c:pt>
                <c:pt idx="11">
                  <c:v>12th Entry</c:v>
                </c:pt>
                <c:pt idx="12">
                  <c:v>13th Entry</c:v>
                </c:pt>
                <c:pt idx="13">
                  <c:v>14th Entry</c:v>
                </c:pt>
                <c:pt idx="14">
                  <c:v>15th Entry</c:v>
                </c:pt>
                <c:pt idx="15">
                  <c:v>16th Entry</c:v>
                </c:pt>
                <c:pt idx="16">
                  <c:v>17th Entry</c:v>
                </c:pt>
                <c:pt idx="17">
                  <c:v>18th Entry</c:v>
                </c:pt>
                <c:pt idx="18">
                  <c:v>19th Entry</c:v>
                </c:pt>
                <c:pt idx="19">
                  <c:v>20th Entry</c:v>
                </c:pt>
                <c:pt idx="20">
                  <c:v>21th Entry</c:v>
                </c:pt>
                <c:pt idx="21">
                  <c:v>22th Entry</c:v>
                </c:pt>
                <c:pt idx="22">
                  <c:v>23th Entry</c:v>
                </c:pt>
                <c:pt idx="23">
                  <c:v>24th Entry</c:v>
                </c:pt>
              </c:strCache>
            </c:strRef>
          </c:cat>
          <c:val>
            <c:numRef>
              <c:f>Sheet1!$B$2:$B$25</c:f>
              <c:numCache>
                <c:formatCode>General</c:formatCode>
                <c:ptCount val="24"/>
                <c:pt idx="0">
                  <c:v>10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0</c:v>
                </c:pt>
                <c:pt idx="8">
                  <c:v>10</c:v>
                </c:pt>
                <c:pt idx="9">
                  <c:v>10</c:v>
                </c:pt>
                <c:pt idx="10">
                  <c:v>10</c:v>
                </c:pt>
                <c:pt idx="11">
                  <c:v>10</c:v>
                </c:pt>
                <c:pt idx="12">
                  <c:v>10</c:v>
                </c:pt>
                <c:pt idx="13">
                  <c:v>10</c:v>
                </c:pt>
                <c:pt idx="14">
                  <c:v>10</c:v>
                </c:pt>
                <c:pt idx="15">
                  <c:v>10</c:v>
                </c:pt>
                <c:pt idx="16">
                  <c:v>10</c:v>
                </c:pt>
                <c:pt idx="17">
                  <c:v>10</c:v>
                </c:pt>
                <c:pt idx="18">
                  <c:v>10</c:v>
                </c:pt>
                <c:pt idx="19">
                  <c:v>10</c:v>
                </c:pt>
                <c:pt idx="20">
                  <c:v>10</c:v>
                </c:pt>
                <c:pt idx="21">
                  <c:v>10</c:v>
                </c:pt>
                <c:pt idx="22">
                  <c:v>10</c:v>
                </c:pt>
                <c:pt idx="23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0-1504-4AAD-8BCA-155C626759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0"/>
        <c:gapDepth val="10"/>
        <c:shape val="box"/>
        <c:axId val="1929698128"/>
        <c:axId val="1929700880"/>
        <c:axId val="0"/>
      </c:bar3DChart>
      <c:catAx>
        <c:axId val="192969812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lt1">
                  <a:lumMod val="60000"/>
                  <a:lumOff val="4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all" spc="150" normalizeH="0" baseline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929700880"/>
        <c:crosses val="autoZero"/>
        <c:auto val="1"/>
        <c:lblAlgn val="ctr"/>
        <c:lblOffset val="100"/>
        <c:noMultiLvlLbl val="0"/>
      </c:catAx>
      <c:valAx>
        <c:axId val="1929700880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9296981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5">
  <cs:axisTitle>
    <cs:lnRef idx="0"/>
    <cs:fillRef idx="0"/>
    <cs:effectRef idx="0"/>
    <cs:fontRef idx="minor">
      <a:schemeClr val="lt1"/>
    </cs:fontRef>
    <cs:defRPr sz="1197" b="1" kern="1200"/>
  </cs:axisTitle>
  <cs:categoryAxis>
    <cs:lnRef idx="0">
      <cs:styleClr val="0"/>
    </cs:lnRef>
    <cs:fillRef idx="0"/>
    <cs:effectRef idx="0"/>
    <cs:fontRef idx="minor">
      <a:schemeClr val="lt1"/>
    </cs:fontRef>
    <cs:defRPr sz="1197" kern="1200" cap="all" spc="150" normalizeH="0" baseline="0"/>
  </cs:categoryAxis>
  <cs:chartArea>
    <cs:lnRef idx="0">
      <cs:styleClr val="0"/>
    </cs:lnRef>
    <cs:fillRef idx="0">
      <cs:styleClr val="0"/>
    </cs:fillRef>
    <cs:effectRef idx="0"/>
    <cs:fontRef idx="minor">
      <a:schemeClr val="dk1"/>
    </cs:fontRef>
    <cs:spPr>
      <a:solidFill>
        <a:schemeClr val="phClr"/>
      </a:solidFill>
      <a:ln w="9525" cap="flat" cmpd="sng" algn="ctr">
        <a:solidFill>
          <a:schemeClr val="phClr"/>
        </a:solidFill>
        <a:round/>
      </a:ln>
    </cs:spPr>
    <cs:defRPr sz="1330" kern="1200"/>
  </cs:chartArea>
  <cs:dataLabel>
    <cs:lnRef idx="0"/>
    <cs:fillRef idx="0">
      <cs:styleClr val="auto"/>
    </cs:fillRef>
    <cs:effectRef idx="0"/>
    <cs:fontRef idx="minor">
      <a:schemeClr val="lt1"/>
    </cs:fontRef>
    <cs:spPr>
      <a:solidFill>
        <a:schemeClr val="phClr">
          <a:alpha val="70000"/>
        </a:schemeClr>
      </a:solidFill>
    </cs:spPr>
    <cs:defRPr sz="1197" kern="120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lumMod val="20000"/>
          <a:lumOff val="8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lumMod val="20000"/>
          <a:lumOff val="80000"/>
        </a:schemeClr>
      </a:solidFill>
      <a:sp3d/>
    </cs:spPr>
  </cs:dataPoint3D>
  <cs:dataPointLine>
    <cs:lnRef idx="0">
      <cs:styleClr val="auto"/>
    </cs:lnRef>
    <cs:fillRef idx="0"/>
    <cs:effectRef idx="0">
      <cs:styleClr val="auto"/>
    </cs:effectRef>
    <cs:fontRef idx="minor">
      <a:schemeClr val="dk1"/>
    </cs:fontRef>
    <cs:spPr>
      <a:ln w="34925" cap="rnd">
        <a:solidFill>
          <a:schemeClr val="lt1"/>
        </a:solidFill>
        <a:round/>
      </a:ln>
      <a:effectLst>
        <a:outerShdw dist="25400" dir="2700000" algn="tl" rotWithShape="0">
          <a:schemeClr val="phClr"/>
        </a:outerShdw>
      </a:effectLst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22225">
        <a:solidFill>
          <a:schemeClr val="lt1"/>
        </a:solidFill>
        <a:round/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>
      <cs:styleClr val="0"/>
    </cs:lnRef>
    <cs:fillRef idx="0"/>
    <cs:effectRef idx="0"/>
    <cs:fontRef idx="minor">
      <a:schemeClr val="lt1"/>
    </cs:fontRef>
    <cs:spPr>
      <a:ln w="9525">
        <a:solidFill>
          <a:schemeClr val="phClr">
            <a:lumMod val="60000"/>
            <a:lumOff val="40000"/>
          </a:schemeClr>
        </a:solidFill>
      </a:ln>
    </cs:spPr>
    <cs:defRPr sz="1197" kern="1200"/>
  </cs:dataTable>
  <cs:downBar>
    <cs:lnRef idx="0">
      <cs:styleClr val="0"/>
    </cs:lnRef>
    <cs:fillRef idx="0"/>
    <cs:effectRef idx="0"/>
    <cs:fontRef idx="minor">
      <a:schemeClr val="dk1"/>
    </cs:fontRef>
    <cs:spPr>
      <a:solidFill>
        <a:schemeClr val="dk1">
          <a:lumMod val="35000"/>
          <a:lumOff val="65000"/>
        </a:schemeClr>
      </a:solidFill>
      <a:ln w="9525">
        <a:solidFill>
          <a:schemeClr val="phClr">
            <a:lumMod val="60000"/>
            <a:lumOff val="40000"/>
          </a:schemeClr>
        </a:solidFill>
      </a:ln>
    </cs:spPr>
  </cs:downBar>
  <cs:drop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  <a:prstDash val="dash"/>
      </a:ln>
    </cs:spPr>
  </cs:dropLine>
  <cs:errorBar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  <a:round/>
      </a:ln>
      <a:effectLst>
        <a:glow rad="25400">
          <a:schemeClr val="lt1"/>
        </a:glow>
      </a:effectLst>
    </cs:spPr>
  </cs:errorBar>
  <cs:floor>
    <cs:lnRef idx="0"/>
    <cs:fillRef idx="0">
      <cs:styleClr val="0"/>
    </cs:fillRef>
    <cs:effectRef idx="0"/>
    <cs:fontRef idx="minor">
      <a:schemeClr val="dk1"/>
    </cs:fontRef>
    <cs:spPr>
      <a:solidFill>
        <a:schemeClr val="phClr">
          <a:alpha val="30000"/>
        </a:schemeClr>
      </a:solidFill>
      <a:sp3d/>
    </cs:spPr>
  </cs:floor>
  <cs:gridlineMajor>
    <cs:lnRef idx="0">
      <cs:styleClr val="0"/>
    </cs:lnRef>
    <cs:fillRef idx="0"/>
    <cs:effectRef idx="0"/>
    <cs:fontRef idx="minor">
      <a:schemeClr val="dk1"/>
    </cs:fontRef>
    <cs:spPr>
      <a:ln w="9525" cap="flat" cmpd="sng" algn="ctr">
        <a:solidFill>
          <a:schemeClr val="lt1">
            <a:lumMod val="60000"/>
            <a:lumOff val="40000"/>
          </a:schemeClr>
        </a:solidFill>
        <a:round/>
      </a:ln>
    </cs:spPr>
  </cs:gridlineMajor>
  <cs:gridlineMinor>
    <cs:lnRef idx="0">
      <cs:styleClr val="0"/>
    </cs:lnRef>
    <cs:fillRef idx="0"/>
    <cs:effectRef idx="0"/>
    <cs:fontRef idx="minor">
      <a:schemeClr val="dk1"/>
    </cs:fontRef>
    <cs:spPr>
      <a:ln>
        <a:solidFill>
          <a:schemeClr val="lt1">
            <a:lumMod val="50000"/>
            <a:lumOff val="50000"/>
          </a:schemeClr>
        </a:solidFill>
      </a:ln>
    </cs:spPr>
  </cs:gridlineMinor>
  <cs:hiLo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  <a:prstDash val="dash"/>
      </a:ln>
    </cs:spPr>
  </cs:hiLoLine>
  <cs:leader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</a:ln>
    </cs:spPr>
  </cs:leaderLine>
  <cs:legend>
    <cs:lnRef idx="0"/>
    <cs:fillRef idx="0"/>
    <cs:effectRef idx="0"/>
    <cs:fontRef idx="minor">
      <a:schemeClr val="lt1"/>
    </cs:fontRef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>
      <cs:styleClr val="0"/>
    </cs:lnRef>
    <cs:fillRef idx="0"/>
    <cs:effectRef idx="0"/>
    <cs:fontRef idx="minor">
      <a:schemeClr val="lt1"/>
    </cs:fontRef>
    <cs:spPr>
      <a:ln w="3175" cap="flat" cmpd="sng" algn="ctr">
        <a:solidFill>
          <a:schemeClr val="phClr">
            <a:lumMod val="60000"/>
            <a:lumOff val="40000"/>
          </a:schemeClr>
        </a:solidFill>
        <a:round/>
      </a:ln>
    </cs:spPr>
    <cs:defRPr sz="1197" kern="1200"/>
  </cs:seriesAxis>
  <cs:series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  <a:tint val="5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lt1"/>
    </cs:fontRef>
    <cs:defRPr sz="1995" b="1" kern="1200" cap="all" spc="100" normalizeH="0" baseline="0"/>
  </cs:title>
  <cs:trendline>
    <cs:lnRef idx="0"/>
    <cs:fillRef idx="0"/>
    <cs:effectRef idx="0"/>
    <cs:fontRef idx="minor">
      <a:schemeClr val="dk1"/>
    </cs:fontRef>
    <cs:spPr>
      <a:ln w="28575" cap="rnd">
        <a:solidFill>
          <a:schemeClr val="lt1">
            <a:alpha val="50000"/>
          </a:schemeClr>
        </a:solidFill>
        <a:round/>
      </a:ln>
    </cs:spPr>
  </cs:trendline>
  <cs:trendlineLabel>
    <cs:lnRef idx="0"/>
    <cs:fillRef idx="0"/>
    <cs:effectRef idx="0"/>
    <cs:fontRef idx="minor">
      <a:schemeClr val="lt1"/>
    </cs:fontRef>
    <cs:defRPr sz="1197" kern="1200"/>
  </cs:trendlineLabel>
  <cs:upBar>
    <cs:lnRef idx="0">
      <cs:styleClr val="0"/>
    </cs:lnRef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ln w="9525">
        <a:solidFill>
          <a:schemeClr val="phClr">
            <a:lumMod val="60000"/>
            <a:lumOff val="40000"/>
          </a:schemeClr>
        </a:solidFill>
      </a:ln>
    </cs:spPr>
  </cs:upBar>
  <cs:valueAxis>
    <cs:lnRef idx="0"/>
    <cs:fillRef idx="0"/>
    <cs:effectRef idx="0"/>
    <cs:fontRef idx="minor">
      <a:schemeClr val="lt1"/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4139160-3A48-BCAE-01D0-A335B0F84E0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908E8E-AD35-EB2D-D664-C6897065B10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52E9D3-BB89-401B-B72C-F40ED73F46E4}" type="datetimeFigureOut">
              <a:rPr lang="en-US" smtClean="0"/>
              <a:t>10/29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E8A593F-F06A-B413-B4F7-79AF9960A5A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84A184-AF40-F6E6-3AD7-ACAA907E24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603216-E864-4DE4-9007-BAB07F8CD7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56319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76BABE84-C417-4069-812F-FC21E388647D}" type="datetimeFigureOut">
              <a:rPr lang="en-US" smtClean="0"/>
              <a:pPr/>
              <a:t>10/29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FA5620A4-7C62-473C-A40A-44EBBDAC30F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58663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5100" y="752475"/>
            <a:ext cx="6691313" cy="37639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620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8DF57D7-2670-4E78-96DD-D9B22805124F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pPr marL="0" marR="0" lvl="0" indent="0" algn="r" defTabSz="8620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10696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oleObject" Target="../embeddings/oleObject2.bin"/><Relationship Id="rId7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8.png"/><Relationship Id="rId5" Type="http://schemas.openxmlformats.org/officeDocument/2006/relationships/image" Target="../media/image7.jpeg"/><Relationship Id="rId4" Type="http://schemas.openxmlformats.org/officeDocument/2006/relationships/image" Target="../media/image6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5" Type="http://schemas.openxmlformats.org/officeDocument/2006/relationships/chart" Target="../charts/chart3.xml"/><Relationship Id="rId4" Type="http://schemas.openxmlformats.org/officeDocument/2006/relationships/image" Target="../media/image6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6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6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6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6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6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6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6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6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6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6.emf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oleObject" Target="../embeddings/oleObject23.bin"/><Relationship Id="rId7" Type="http://schemas.openxmlformats.org/officeDocument/2006/relationships/image" Target="../media/image9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6" Type="http://schemas.openxmlformats.org/officeDocument/2006/relationships/image" Target="../media/image8.png"/><Relationship Id="rId5" Type="http://schemas.openxmlformats.org/officeDocument/2006/relationships/image" Target="../media/image7.jpeg"/><Relationship Id="rId4" Type="http://schemas.openxmlformats.org/officeDocument/2006/relationships/image" Target="../media/image6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Relationship Id="rId4" Type="http://schemas.openxmlformats.org/officeDocument/2006/relationships/image" Target="../media/image6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Relationship Id="rId4" Type="http://schemas.openxmlformats.org/officeDocument/2006/relationships/image" Target="../media/image6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Relationship Id="rId4" Type="http://schemas.openxmlformats.org/officeDocument/2006/relationships/image" Target="../media/image6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.xml"/><Relationship Id="rId4" Type="http://schemas.openxmlformats.org/officeDocument/2006/relationships/image" Target="../media/image6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.xml"/><Relationship Id="rId4" Type="http://schemas.openxmlformats.org/officeDocument/2006/relationships/image" Target="../media/image6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.xml"/><Relationship Id="rId4" Type="http://schemas.openxmlformats.org/officeDocument/2006/relationships/image" Target="../media/image6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.xml"/><Relationship Id="rId4" Type="http://schemas.openxmlformats.org/officeDocument/2006/relationships/image" Target="../media/image6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emf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.xml"/><Relationship Id="rId4" Type="http://schemas.openxmlformats.org/officeDocument/2006/relationships/image" Target="../media/image6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.xml"/><Relationship Id="rId4" Type="http://schemas.openxmlformats.org/officeDocument/2006/relationships/image" Target="../media/image6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5.xml"/><Relationship Id="rId4" Type="http://schemas.openxmlformats.org/officeDocument/2006/relationships/image" Target="../media/image6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4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6" Type="http://schemas.openxmlformats.org/officeDocument/2006/relationships/image" Target="../media/image9.png"/><Relationship Id="rId5" Type="http://schemas.openxmlformats.org/officeDocument/2006/relationships/image" Target="../media/image13.jpeg"/><Relationship Id="rId4" Type="http://schemas.openxmlformats.org/officeDocument/2006/relationships/image" Target="../media/image6.emf"/><Relationship Id="rId9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image" Target="../media/image10.jpeg"/><Relationship Id="rId7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6" Type="http://schemas.openxmlformats.org/officeDocument/2006/relationships/image" Target="../media/image11.jpeg"/><Relationship Id="rId5" Type="http://schemas.openxmlformats.org/officeDocument/2006/relationships/image" Target="../media/image6.emf"/><Relationship Id="rId10" Type="http://schemas.openxmlformats.org/officeDocument/2006/relationships/image" Target="../media/image5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image" Target="../media/image14.jpeg"/><Relationship Id="rId7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6" Type="http://schemas.openxmlformats.org/officeDocument/2006/relationships/image" Target="../media/image13.jpeg"/><Relationship Id="rId5" Type="http://schemas.openxmlformats.org/officeDocument/2006/relationships/image" Target="../media/image6.emf"/><Relationship Id="rId10" Type="http://schemas.openxmlformats.org/officeDocument/2006/relationships/image" Target="../media/image5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8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image" Target="../media/image15.jpeg"/><Relationship Id="rId7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6" Type="http://schemas.openxmlformats.org/officeDocument/2006/relationships/image" Target="../media/image16.jpeg"/><Relationship Id="rId5" Type="http://schemas.openxmlformats.org/officeDocument/2006/relationships/image" Target="../media/image6.emf"/><Relationship Id="rId10" Type="http://schemas.openxmlformats.org/officeDocument/2006/relationships/image" Target="../media/image5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8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6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3F5AEF9-3B31-47B0-B4B2-7EB7A46D02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1265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2" imgH="595" progId="TCLayout.ActiveDocument.1">
                  <p:embed/>
                </p:oleObj>
              </mc:Choice>
              <mc:Fallback>
                <p:oleObj name="Diapositive think-cell" r:id="rId3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3F5AEF9-3B31-47B0-B4B2-7EB7A46D02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169">
            <a:extLst>
              <a:ext uri="{FF2B5EF4-FFF2-40B4-BE49-F238E27FC236}">
                <a16:creationId xmlns:a16="http://schemas.microsoft.com/office/drawing/2014/main" id="{62C2602F-BC1F-4AC9-8F8F-37D4246EC5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5851" cy="6878925"/>
          </a:xfrm>
          <a:prstGeom prst="rect">
            <a:avLst/>
          </a:prstGeom>
        </p:spPr>
      </p:pic>
      <p:sp>
        <p:nvSpPr>
          <p:cNvPr id="90" name="Rectangle 4">
            <a:extLst>
              <a:ext uri="{FF2B5EF4-FFF2-40B4-BE49-F238E27FC236}">
                <a16:creationId xmlns:a16="http://schemas.microsoft.com/office/drawing/2014/main" id="{FBF93EDD-5149-43C3-AE03-E4F5F512FE93}"/>
              </a:ext>
            </a:extLst>
          </p:cNvPr>
          <p:cNvSpPr/>
          <p:nvPr userDrawn="1"/>
        </p:nvSpPr>
        <p:spPr>
          <a:xfrm>
            <a:off x="1" y="-2"/>
            <a:ext cx="12192000" cy="6878925"/>
          </a:xfrm>
          <a:prstGeom prst="rect">
            <a:avLst/>
          </a:prstGeom>
          <a:solidFill>
            <a:srgbClr val="003249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795"/>
          </a:p>
        </p:txBody>
      </p:sp>
      <p:sp>
        <p:nvSpPr>
          <p:cNvPr id="56323" name="Rectangle 2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18375" y="5258118"/>
            <a:ext cx="10598400" cy="38145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rtl="0">
              <a:buFont typeface="Verdana" pitchFamily="34" charset="0"/>
              <a:buNone/>
              <a:defRPr sz="1731"/>
            </a:lvl1pPr>
          </a:lstStyle>
          <a:p>
            <a:pPr lvl="0"/>
            <a:r>
              <a:rPr lang="en-US" noProof="0" err="1"/>
              <a:t>SubTitle</a:t>
            </a:r>
            <a:endParaRPr lang="en-US" noProof="0"/>
          </a:p>
        </p:txBody>
      </p:sp>
      <p:sp>
        <p:nvSpPr>
          <p:cNvPr id="56325" name="Rectangle 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25656" y="3351588"/>
            <a:ext cx="11833243" cy="707886"/>
          </a:xfrm>
          <a:prstGeom prst="rect">
            <a:avLst/>
          </a:prstGeom>
        </p:spPr>
        <p:txBody>
          <a:bodyPr vert="horz"/>
          <a:lstStyle>
            <a:lvl1pPr algn="l" rtl="0">
              <a:defRPr sz="3989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NAME YOUR PRESENTATION</a:t>
            </a:r>
          </a:p>
        </p:txBody>
      </p:sp>
      <p:sp>
        <p:nvSpPr>
          <p:cNvPr id="56347" name="Text Box 27"/>
          <p:cNvSpPr txBox="1">
            <a:spLocks noChangeArrowheads="1"/>
          </p:cNvSpPr>
          <p:nvPr userDrawn="1"/>
        </p:nvSpPr>
        <p:spPr bwMode="auto">
          <a:xfrm>
            <a:off x="842434" y="6429376"/>
            <a:ext cx="6688666" cy="211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rtl="0">
              <a:spcBef>
                <a:spcPct val="50000"/>
              </a:spcBef>
            </a:pPr>
            <a:endParaRPr lang="en-US" sz="770" noProof="0"/>
          </a:p>
        </p:txBody>
      </p:sp>
      <p:cxnSp>
        <p:nvCxnSpPr>
          <p:cNvPr id="121" name="Straight Connector 64">
            <a:extLst>
              <a:ext uri="{FF2B5EF4-FFF2-40B4-BE49-F238E27FC236}">
                <a16:creationId xmlns:a16="http://schemas.microsoft.com/office/drawing/2014/main" id="{6B88ADAB-0C9C-4BC9-A42C-A57312626145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1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152">
            <a:extLst>
              <a:ext uri="{FF2B5EF4-FFF2-40B4-BE49-F238E27FC236}">
                <a16:creationId xmlns:a16="http://schemas.microsoft.com/office/drawing/2014/main" id="{357F7D0F-2D50-4418-8EB4-564A4B2CEE5B}"/>
              </a:ext>
            </a:extLst>
          </p:cNvPr>
          <p:cNvCxnSpPr>
            <a:cxnSpLocks/>
          </p:cNvCxnSpPr>
          <p:nvPr userDrawn="1"/>
        </p:nvCxnSpPr>
        <p:spPr>
          <a:xfrm>
            <a:off x="222591" y="4106871"/>
            <a:ext cx="11736308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Box 24">
            <a:extLst>
              <a:ext uri="{FF2B5EF4-FFF2-40B4-BE49-F238E27FC236}">
                <a16:creationId xmlns:a16="http://schemas.microsoft.com/office/drawing/2014/main" id="{7D33984A-D43C-428F-AB4A-04E5B59FAE7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801313" y="5406991"/>
            <a:ext cx="227325" cy="276999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>
            <a:spAutoFit/>
          </a:bodyPr>
          <a:lstStyle/>
          <a:p>
            <a:pPr algn="r" rtl="0">
              <a:spcBef>
                <a:spcPts val="0"/>
              </a:spcBef>
            </a:pPr>
            <a:r>
              <a:rPr lang="en-US" sz="119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4" name="Text Box 25">
            <a:extLst>
              <a:ext uri="{FF2B5EF4-FFF2-40B4-BE49-F238E27FC236}">
                <a16:creationId xmlns:a16="http://schemas.microsoft.com/office/drawing/2014/main" id="{7AB46881-5DF0-4A35-AA27-0D32ECF8235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779244" y="6156810"/>
            <a:ext cx="227326" cy="276999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>
            <a:spAutoFit/>
          </a:bodyPr>
          <a:lstStyle/>
          <a:p>
            <a:pPr algn="r" rtl="0">
              <a:spcBef>
                <a:spcPts val="0"/>
              </a:spcBef>
            </a:pPr>
            <a:r>
              <a:rPr lang="en-US" sz="119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5" name="Text Box 99">
            <a:extLst>
              <a:ext uri="{FF2B5EF4-FFF2-40B4-BE49-F238E27FC236}">
                <a16:creationId xmlns:a16="http://schemas.microsoft.com/office/drawing/2014/main" id="{D9FE3E1C-24B3-4F63-846C-260B4220AAC5}"/>
              </a:ext>
            </a:extLst>
          </p:cNvPr>
          <p:cNvSpPr/>
          <p:nvPr userDrawn="1"/>
        </p:nvSpPr>
        <p:spPr>
          <a:xfrm>
            <a:off x="11094664" y="5811879"/>
            <a:ext cx="911906" cy="217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rtl="0"/>
            <a:r>
              <a:rPr lang="en-US" sz="1197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0" name="Text Box 58"/>
          <p:cNvSpPr txBox="1">
            <a:spLocks noChangeArrowheads="1"/>
          </p:cNvSpPr>
          <p:nvPr userDrawn="1"/>
        </p:nvSpPr>
        <p:spPr bwMode="auto">
          <a:xfrm>
            <a:off x="222592" y="6213933"/>
            <a:ext cx="668866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anchor="b">
            <a:spAutoFit/>
          </a:bodyPr>
          <a:lstStyle/>
          <a:p>
            <a:pPr algn="l" rtl="0">
              <a:spcBef>
                <a:spcPct val="50000"/>
              </a:spcBef>
            </a:pPr>
            <a:r>
              <a:rPr lang="en-US" sz="798" noProof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A UNCLASSIFIED - For ESA Official Use Only</a:t>
            </a:r>
          </a:p>
        </p:txBody>
      </p:sp>
      <p:sp>
        <p:nvSpPr>
          <p:cNvPr id="4" name="Text Box 34">
            <a:extLst>
              <a:ext uri="{FF2B5EF4-FFF2-40B4-BE49-F238E27FC236}">
                <a16:creationId xmlns:a16="http://schemas.microsoft.com/office/drawing/2014/main" id="{936521E2-36D7-4AF3-B70B-FA4D9649E46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590214" y="6202801"/>
            <a:ext cx="332784" cy="2151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Ins="0">
            <a:spAutoFit/>
          </a:bodyPr>
          <a:lstStyle/>
          <a:p>
            <a:pPr algn="r" rtl="0">
              <a:spcBef>
                <a:spcPct val="50000"/>
              </a:spcBef>
            </a:pPr>
            <a:r>
              <a:rPr lang="en-US" sz="798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fld id="{FDAC5C42-9B53-4063-AF51-A40D4C64F718}" type="slidenum">
              <a:rPr lang="en-US" sz="798" noProof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rtl="0">
                <a:spcBef>
                  <a:spcPct val="50000"/>
                </a:spcBef>
              </a:pPr>
              <a:t>‹#›</a:t>
            </a:fld>
            <a:endParaRPr lang="en-US" sz="798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3" name="Picture 62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03315" y="-216085"/>
            <a:ext cx="2088182" cy="1314000"/>
          </a:xfrm>
          <a:prstGeom prst="rect">
            <a:avLst/>
          </a:prstGeom>
        </p:spPr>
      </p:pic>
      <p:pic>
        <p:nvPicPr>
          <p:cNvPr id="65" name="Picture 5">
            <a:extLst>
              <a:ext uri="{FF2B5EF4-FFF2-40B4-BE49-F238E27FC236}">
                <a16:creationId xmlns:a16="http://schemas.microsoft.com/office/drawing/2014/main" id="{BBC9EEE5-B210-445C-81EF-FEA569E56083}"/>
              </a:ext>
            </a:extLst>
          </p:cNvPr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14596" y="6584400"/>
            <a:ext cx="1636920" cy="104400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849" y="6465593"/>
            <a:ext cx="9929648" cy="405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4322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7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00"/>
                            </p:stCondLst>
                            <p:childTnLst>
                              <p:par>
                                <p:cTn id="14" presetID="2" presetClass="entr" presetSubtype="1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500"/>
                            </p:stCondLst>
                            <p:childTnLst>
                              <p:par>
                                <p:cTn id="1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500"/>
                            </p:stCondLst>
                            <p:childTnLst>
                              <p:par>
                                <p:cTn id="2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500"/>
                            </p:stCondLst>
                            <p:childTnLst>
                              <p:par>
                                <p:cTn id="30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32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4000"/>
                            </p:stCondLst>
                            <p:childTnLst>
                              <p:par>
                                <p:cTn id="3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563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4500"/>
                            </p:stCondLst>
                            <p:childTnLst>
                              <p:par>
                                <p:cTn id="3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563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5000"/>
                            </p:stCondLst>
                            <p:childTnLst>
                              <p:par>
                                <p:cTn id="42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0" grpId="0" animBg="1"/>
      <p:bldP spid="56323" grpId="0">
        <p:tmplLst>
          <p:tmpl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63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563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6325" grpId="0"/>
      <p:bldP spid="43" grpId="0" build="allAtOnce"/>
      <p:bldP spid="44" grpId="0" build="allAtOnce"/>
      <p:bldP spid="45" grpId="0" build="allAtOnce"/>
      <p:bldP spid="10" grpId="0"/>
    </p:bldLst>
  </p:timing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C8AB6C3-4C2A-4776-8661-2FE8E01311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1094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2" imgH="595" progId="TCLayout.ActiveDocument.1">
                  <p:embed/>
                </p:oleObj>
              </mc:Choice>
              <mc:Fallback>
                <p:oleObj name="Diapositive think-cell" r:id="rId3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C8AB6C3-4C2A-4776-8661-2FE8E01311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9A1B31BE-8F00-4FD0-B83D-49F14B7AAC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altLang="en-US" noProof="0"/>
              <a:t>CLICK TO EDIT MASTER TITLE STYLE</a:t>
            </a:r>
            <a:endParaRPr lang="en-US" noProof="0"/>
          </a:p>
        </p:txBody>
      </p:sp>
      <p:graphicFrame>
        <p:nvGraphicFramePr>
          <p:cNvPr id="3" name="Chart 62">
            <a:extLst>
              <a:ext uri="{FF2B5EF4-FFF2-40B4-BE49-F238E27FC236}">
                <a16:creationId xmlns:a16="http://schemas.microsoft.com/office/drawing/2014/main" id="{ACF06B11-18F4-4720-A183-165C1FB85F61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737926873"/>
              </p:ext>
            </p:extLst>
          </p:nvPr>
        </p:nvGraphicFramePr>
        <p:xfrm>
          <a:off x="278275" y="1219354"/>
          <a:ext cx="11624274" cy="4735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805BBD0-4E77-4901-8F9B-5C34F6E0468A}"/>
              </a:ext>
            </a:extLst>
          </p:cNvPr>
          <p:cNvCxnSpPr/>
          <p:nvPr userDrawn="1"/>
        </p:nvCxnSpPr>
        <p:spPr>
          <a:xfrm>
            <a:off x="217667" y="882193"/>
            <a:ext cx="11736308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583135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300"/>
                                        <p:tgtEl>
                                          <p:spTgt spid="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300"/>
                            </p:stCondLst>
                            <p:childTnLst>
                              <p:par>
                                <p:cTn id="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300"/>
                                        <p:tgtEl>
                                          <p:spTgt spid="3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600"/>
                            </p:stCondLst>
                            <p:childTnLst>
                              <p:par>
                                <p:cTn id="1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300"/>
                                        <p:tgtEl>
                                          <p:spTgt spid="3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900"/>
                            </p:stCondLst>
                            <p:childTnLst>
                              <p:par>
                                <p:cTn id="1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300"/>
                                        <p:tgtEl>
                                          <p:spTgt spid="3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200"/>
                            </p:stCondLst>
                            <p:childTnLst>
                              <p:par>
                                <p:cTn id="2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300"/>
                                        <p:tgtEl>
                                          <p:spTgt spid="3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300"/>
                                        <p:tgtEl>
                                          <p:spTgt spid="3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800"/>
                            </p:stCondLst>
                            <p:childTnLst>
                              <p:par>
                                <p:cTn id="2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300"/>
                                        <p:tgtEl>
                                          <p:spTgt spid="3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100"/>
                            </p:stCondLst>
                            <p:childTnLst>
                              <p:par>
                                <p:cTn id="3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300"/>
                                        <p:tgtEl>
                                          <p:spTgt spid="3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400"/>
                            </p:stCondLst>
                            <p:childTnLst>
                              <p:par>
                                <p:cTn id="3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300"/>
                                        <p:tgtEl>
                                          <p:spTgt spid="3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700"/>
                            </p:stCondLst>
                            <p:childTnLst>
                              <p:par>
                                <p:cTn id="4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300"/>
                                        <p:tgtEl>
                                          <p:spTgt spid="3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3000"/>
                            </p:stCondLst>
                            <p:childTnLst>
                              <p:par>
                                <p:cTn id="4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300"/>
                                        <p:tgtEl>
                                          <p:spTgt spid="3">
                                            <p:graphicEl>
                                              <a:chart seriesIdx="-4" categoryIdx="9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300"/>
                            </p:stCondLst>
                            <p:childTnLst>
                              <p:par>
                                <p:cTn id="4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300"/>
                                        <p:tgtEl>
                                          <p:spTgt spid="3">
                                            <p:graphicEl>
                                              <a:chart seriesIdx="-4" categoryIdx="1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600"/>
                            </p:stCondLst>
                            <p:childTnLst>
                              <p:par>
                                <p:cTn id="5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300"/>
                                        <p:tgtEl>
                                          <p:spTgt spid="3">
                                            <p:graphicEl>
                                              <a:chart seriesIdx="-4" categoryIdx="1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900"/>
                            </p:stCondLst>
                            <p:childTnLst>
                              <p:par>
                                <p:cTn id="5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300"/>
                                        <p:tgtEl>
                                          <p:spTgt spid="3">
                                            <p:graphicEl>
                                              <a:chart seriesIdx="-4" categoryIdx="1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4200"/>
                            </p:stCondLst>
                            <p:childTnLst>
                              <p:par>
                                <p:cTn id="6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300"/>
                                        <p:tgtEl>
                                          <p:spTgt spid="3">
                                            <p:graphicEl>
                                              <a:chart seriesIdx="-4" categoryIdx="1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4500"/>
                            </p:stCondLst>
                            <p:childTnLst>
                              <p:par>
                                <p:cTn id="6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300"/>
                                        <p:tgtEl>
                                          <p:spTgt spid="3">
                                            <p:graphicEl>
                                              <a:chart seriesIdx="-4" categoryIdx="1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4800"/>
                            </p:stCondLst>
                            <p:childTnLst>
                              <p:par>
                                <p:cTn id="6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300"/>
                                        <p:tgtEl>
                                          <p:spTgt spid="3">
                                            <p:graphicEl>
                                              <a:chart seriesIdx="-4" categoryIdx="1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5100"/>
                            </p:stCondLst>
                            <p:childTnLst>
                              <p:par>
                                <p:cTn id="7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" dur="300"/>
                                        <p:tgtEl>
                                          <p:spTgt spid="3">
                                            <p:graphicEl>
                                              <a:chart seriesIdx="-4" categoryIdx="1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5400"/>
                            </p:stCondLst>
                            <p:childTnLst>
                              <p:par>
                                <p:cTn id="7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300"/>
                                        <p:tgtEl>
                                          <p:spTgt spid="3">
                                            <p:graphicEl>
                                              <a:chart seriesIdx="-4" categoryIdx="1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700"/>
                            </p:stCondLst>
                            <p:childTnLst>
                              <p:par>
                                <p:cTn id="8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" dur="300"/>
                                        <p:tgtEl>
                                          <p:spTgt spid="3">
                                            <p:graphicEl>
                                              <a:chart seriesIdx="-4" categoryIdx="1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6000"/>
                            </p:stCondLst>
                            <p:childTnLst>
                              <p:par>
                                <p:cTn id="8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300"/>
                                        <p:tgtEl>
                                          <p:spTgt spid="3">
                                            <p:graphicEl>
                                              <a:chart seriesIdx="-4" categoryIdx="19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6300"/>
                            </p:stCondLst>
                            <p:childTnLst>
                              <p:par>
                                <p:cTn id="8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2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1" dur="300"/>
                                        <p:tgtEl>
                                          <p:spTgt spid="3">
                                            <p:graphicEl>
                                              <a:chart seriesIdx="-4" categoryIdx="2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6600"/>
                            </p:stCondLst>
                            <p:childTnLst>
                              <p:par>
                                <p:cTn id="9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2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5" dur="300"/>
                                        <p:tgtEl>
                                          <p:spTgt spid="3">
                                            <p:graphicEl>
                                              <a:chart seriesIdx="-4" categoryIdx="2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6900"/>
                            </p:stCondLst>
                            <p:childTnLst>
                              <p:par>
                                <p:cTn id="9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2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9" dur="300"/>
                                        <p:tgtEl>
                                          <p:spTgt spid="3">
                                            <p:graphicEl>
                                              <a:chart seriesIdx="-4" categoryIdx="2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7200"/>
                            </p:stCondLst>
                            <p:childTnLst>
                              <p:par>
                                <p:cTn id="10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2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3" dur="300"/>
                                        <p:tgtEl>
                                          <p:spTgt spid="3">
                                            <p:graphicEl>
                                              <a:chart seriesIdx="-4" categoryIdx="2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Sub>
          <a:bldChart bld="category"/>
        </p:bldSub>
      </p:bldGraphic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F1EA9A77-07B2-499C-8627-7F3C553DA0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4164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2" imgH="595" progId="TCLayout.ActiveDocument.1">
                  <p:embed/>
                </p:oleObj>
              </mc:Choice>
              <mc:Fallback>
                <p:oleObj name="Diapositive think-cell" r:id="rId3" imgW="592" imgH="595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F1EA9A77-07B2-499C-8627-7F3C553DA0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5">
            <a:extLst>
              <a:ext uri="{FF2B5EF4-FFF2-40B4-BE49-F238E27FC236}">
                <a16:creationId xmlns:a16="http://schemas.microsoft.com/office/drawing/2014/main" id="{F49FFC1C-3741-4844-8C3F-E4F557524424}"/>
              </a:ext>
            </a:extLst>
          </p:cNvPr>
          <p:cNvGrpSpPr/>
          <p:nvPr userDrawn="1"/>
        </p:nvGrpSpPr>
        <p:grpSpPr>
          <a:xfrm>
            <a:off x="-6565" y="-3"/>
            <a:ext cx="12269310" cy="6858003"/>
            <a:chOff x="-6566" y="-2"/>
            <a:chExt cx="12269309" cy="6858002"/>
          </a:xfrm>
        </p:grpSpPr>
        <p:sp>
          <p:nvSpPr>
            <p:cNvPr id="5" name="Rectangle 36" hidden="1">
              <a:extLst>
                <a:ext uri="{FF2B5EF4-FFF2-40B4-BE49-F238E27FC236}">
                  <a16:creationId xmlns:a16="http://schemas.microsoft.com/office/drawing/2014/main" id="{0BD74276-8ED2-4824-9998-0BAA3955CD95}"/>
                </a:ext>
              </a:extLst>
            </p:cNvPr>
            <p:cNvSpPr/>
            <p:nvPr userDrawn="1"/>
          </p:nvSpPr>
          <p:spPr>
            <a:xfrm>
              <a:off x="-6566" y="-2"/>
              <a:ext cx="12198565" cy="6858002"/>
            </a:xfrm>
            <a:prstGeom prst="rect">
              <a:avLst/>
            </a:prstGeom>
            <a:solidFill>
              <a:srgbClr val="0032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GB" sz="1298"/>
            </a:p>
          </p:txBody>
        </p:sp>
        <p:grpSp>
          <p:nvGrpSpPr>
            <p:cNvPr id="6" name="Group 37" hidden="1">
              <a:extLst>
                <a:ext uri="{FF2B5EF4-FFF2-40B4-BE49-F238E27FC236}">
                  <a16:creationId xmlns:a16="http://schemas.microsoft.com/office/drawing/2014/main" id="{978F2107-068F-4327-9136-6EB3073A4403}"/>
                </a:ext>
              </a:extLst>
            </p:cNvPr>
            <p:cNvGrpSpPr/>
            <p:nvPr userDrawn="1"/>
          </p:nvGrpSpPr>
          <p:grpSpPr>
            <a:xfrm>
              <a:off x="442260" y="3456849"/>
              <a:ext cx="11820483" cy="2970388"/>
              <a:chOff x="442260" y="3600153"/>
              <a:chExt cx="11820483" cy="2970388"/>
            </a:xfrm>
          </p:grpSpPr>
          <p:cxnSp>
            <p:nvCxnSpPr>
              <p:cNvPr id="7" name="Straight Connector 38">
                <a:extLst>
                  <a:ext uri="{FF2B5EF4-FFF2-40B4-BE49-F238E27FC236}">
                    <a16:creationId xmlns:a16="http://schemas.microsoft.com/office/drawing/2014/main" id="{B5909EFF-FFE7-4DCA-BB35-2930538F8575}"/>
                  </a:ext>
                </a:extLst>
              </p:cNvPr>
              <p:cNvCxnSpPr/>
              <p:nvPr userDrawn="1"/>
            </p:nvCxnSpPr>
            <p:spPr>
              <a:xfrm flipV="1">
                <a:off x="930228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" name="Straight Connector 39">
                <a:extLst>
                  <a:ext uri="{FF2B5EF4-FFF2-40B4-BE49-F238E27FC236}">
                    <a16:creationId xmlns:a16="http://schemas.microsoft.com/office/drawing/2014/main" id="{BBF66BD5-8EBB-4321-AEA7-778A769BCD0F}"/>
                  </a:ext>
                </a:extLst>
              </p:cNvPr>
              <p:cNvCxnSpPr/>
              <p:nvPr userDrawn="1"/>
            </p:nvCxnSpPr>
            <p:spPr>
              <a:xfrm flipV="1">
                <a:off x="877305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40">
                <a:extLst>
                  <a:ext uri="{FF2B5EF4-FFF2-40B4-BE49-F238E27FC236}">
                    <a16:creationId xmlns:a16="http://schemas.microsoft.com/office/drawing/2014/main" id="{B6105F55-6F73-4EAC-A6FE-341C1EDD082D}"/>
                  </a:ext>
                </a:extLst>
              </p:cNvPr>
              <p:cNvCxnSpPr/>
              <p:nvPr userDrawn="1"/>
            </p:nvCxnSpPr>
            <p:spPr>
              <a:xfrm flipV="1">
                <a:off x="8235524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41">
                <a:extLst>
                  <a:ext uri="{FF2B5EF4-FFF2-40B4-BE49-F238E27FC236}">
                    <a16:creationId xmlns:a16="http://schemas.microsoft.com/office/drawing/2014/main" id="{231C4A1D-0D18-4C45-8CD2-9B482D211697}"/>
                  </a:ext>
                </a:extLst>
              </p:cNvPr>
              <p:cNvCxnSpPr/>
              <p:nvPr userDrawn="1"/>
            </p:nvCxnSpPr>
            <p:spPr>
              <a:xfrm flipV="1">
                <a:off x="78660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42">
                <a:extLst>
                  <a:ext uri="{FF2B5EF4-FFF2-40B4-BE49-F238E27FC236}">
                    <a16:creationId xmlns:a16="http://schemas.microsoft.com/office/drawing/2014/main" id="{887B699A-26D9-4993-847C-C919922EE7EC}"/>
                  </a:ext>
                </a:extLst>
              </p:cNvPr>
              <p:cNvCxnSpPr/>
              <p:nvPr userDrawn="1"/>
            </p:nvCxnSpPr>
            <p:spPr>
              <a:xfrm flipV="1">
                <a:off x="7498863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43">
                <a:extLst>
                  <a:ext uri="{FF2B5EF4-FFF2-40B4-BE49-F238E27FC236}">
                    <a16:creationId xmlns:a16="http://schemas.microsoft.com/office/drawing/2014/main" id="{2861B340-F5C1-4BA1-BA98-8D650473066B}"/>
                  </a:ext>
                </a:extLst>
              </p:cNvPr>
              <p:cNvCxnSpPr/>
              <p:nvPr userDrawn="1"/>
            </p:nvCxnSpPr>
            <p:spPr>
              <a:xfrm flipV="1">
                <a:off x="7127208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44">
                <a:extLst>
                  <a:ext uri="{FF2B5EF4-FFF2-40B4-BE49-F238E27FC236}">
                    <a16:creationId xmlns:a16="http://schemas.microsoft.com/office/drawing/2014/main" id="{C3568F9F-131F-4452-A304-F5E5399BCD8C}"/>
                  </a:ext>
                </a:extLst>
              </p:cNvPr>
              <p:cNvCxnSpPr/>
              <p:nvPr userDrawn="1"/>
            </p:nvCxnSpPr>
            <p:spPr>
              <a:xfrm flipV="1">
                <a:off x="675865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45">
                <a:extLst>
                  <a:ext uri="{FF2B5EF4-FFF2-40B4-BE49-F238E27FC236}">
                    <a16:creationId xmlns:a16="http://schemas.microsoft.com/office/drawing/2014/main" id="{CF836D01-B716-45B7-86B0-7412F0310BC3}"/>
                  </a:ext>
                </a:extLst>
              </p:cNvPr>
              <p:cNvCxnSpPr/>
              <p:nvPr userDrawn="1"/>
            </p:nvCxnSpPr>
            <p:spPr>
              <a:xfrm flipV="1">
                <a:off x="638946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46">
                <a:extLst>
                  <a:ext uri="{FF2B5EF4-FFF2-40B4-BE49-F238E27FC236}">
                    <a16:creationId xmlns:a16="http://schemas.microsoft.com/office/drawing/2014/main" id="{456D7560-3022-407D-A56A-387D1CF7CBBE}"/>
                  </a:ext>
                </a:extLst>
              </p:cNvPr>
              <p:cNvCxnSpPr/>
              <p:nvPr userDrawn="1"/>
            </p:nvCxnSpPr>
            <p:spPr>
              <a:xfrm flipV="1">
                <a:off x="6009868" y="3607282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47">
                <a:extLst>
                  <a:ext uri="{FF2B5EF4-FFF2-40B4-BE49-F238E27FC236}">
                    <a16:creationId xmlns:a16="http://schemas.microsoft.com/office/drawing/2014/main" id="{C7A0A529-063D-45DD-8385-C74DBDC59E7E}"/>
                  </a:ext>
                </a:extLst>
              </p:cNvPr>
              <p:cNvCxnSpPr/>
              <p:nvPr userDrawn="1"/>
            </p:nvCxnSpPr>
            <p:spPr>
              <a:xfrm flipV="1">
                <a:off x="56439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48">
                <a:extLst>
                  <a:ext uri="{FF2B5EF4-FFF2-40B4-BE49-F238E27FC236}">
                    <a16:creationId xmlns:a16="http://schemas.microsoft.com/office/drawing/2014/main" id="{A931E34D-B55F-40AD-83AF-7163B7D714F7}"/>
                  </a:ext>
                </a:extLst>
              </p:cNvPr>
              <p:cNvCxnSpPr/>
              <p:nvPr userDrawn="1"/>
            </p:nvCxnSpPr>
            <p:spPr>
              <a:xfrm flipV="1">
                <a:off x="526926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49">
                <a:extLst>
                  <a:ext uri="{FF2B5EF4-FFF2-40B4-BE49-F238E27FC236}">
                    <a16:creationId xmlns:a16="http://schemas.microsoft.com/office/drawing/2014/main" id="{85C0AB43-36CD-4E1C-BBD6-F6E40C7E2D07}"/>
                  </a:ext>
                </a:extLst>
              </p:cNvPr>
              <p:cNvCxnSpPr/>
              <p:nvPr userDrawn="1"/>
            </p:nvCxnSpPr>
            <p:spPr>
              <a:xfrm flipV="1">
                <a:off x="48896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50">
                <a:extLst>
                  <a:ext uri="{FF2B5EF4-FFF2-40B4-BE49-F238E27FC236}">
                    <a16:creationId xmlns:a16="http://schemas.microsoft.com/office/drawing/2014/main" id="{78CD91FC-28C9-4AC7-87D2-3236ADA79432}"/>
                  </a:ext>
                </a:extLst>
              </p:cNvPr>
              <p:cNvCxnSpPr/>
              <p:nvPr userDrawn="1"/>
            </p:nvCxnSpPr>
            <p:spPr>
              <a:xfrm flipV="1">
                <a:off x="452332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51">
                <a:extLst>
                  <a:ext uri="{FF2B5EF4-FFF2-40B4-BE49-F238E27FC236}">
                    <a16:creationId xmlns:a16="http://schemas.microsoft.com/office/drawing/2014/main" id="{43CC5094-48A5-4786-A10E-9CE8FDA8F34F}"/>
                  </a:ext>
                </a:extLst>
              </p:cNvPr>
              <p:cNvCxnSpPr/>
              <p:nvPr userDrawn="1"/>
            </p:nvCxnSpPr>
            <p:spPr>
              <a:xfrm flipV="1">
                <a:off x="415592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52">
                <a:extLst>
                  <a:ext uri="{FF2B5EF4-FFF2-40B4-BE49-F238E27FC236}">
                    <a16:creationId xmlns:a16="http://schemas.microsoft.com/office/drawing/2014/main" id="{B1CF75A4-9F1F-48F6-AFDA-C7897F2C1B55}"/>
                  </a:ext>
                </a:extLst>
              </p:cNvPr>
              <p:cNvCxnSpPr/>
              <p:nvPr userDrawn="1"/>
            </p:nvCxnSpPr>
            <p:spPr>
              <a:xfrm flipV="1">
                <a:off x="3786582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53">
                <a:extLst>
                  <a:ext uri="{FF2B5EF4-FFF2-40B4-BE49-F238E27FC236}">
                    <a16:creationId xmlns:a16="http://schemas.microsoft.com/office/drawing/2014/main" id="{D8B3EC32-3BCC-4CF3-A8AB-D5695C387FB1}"/>
                  </a:ext>
                </a:extLst>
              </p:cNvPr>
              <p:cNvCxnSpPr/>
              <p:nvPr userDrawn="1"/>
            </p:nvCxnSpPr>
            <p:spPr>
              <a:xfrm flipV="1">
                <a:off x="342049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54">
                <a:extLst>
                  <a:ext uri="{FF2B5EF4-FFF2-40B4-BE49-F238E27FC236}">
                    <a16:creationId xmlns:a16="http://schemas.microsoft.com/office/drawing/2014/main" id="{646D2636-826F-4188-AECD-8E9F547C330E}"/>
                  </a:ext>
                </a:extLst>
              </p:cNvPr>
              <p:cNvCxnSpPr/>
              <p:nvPr userDrawn="1"/>
            </p:nvCxnSpPr>
            <p:spPr>
              <a:xfrm flipV="1">
                <a:off x="305109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55">
                <a:extLst>
                  <a:ext uri="{FF2B5EF4-FFF2-40B4-BE49-F238E27FC236}">
                    <a16:creationId xmlns:a16="http://schemas.microsoft.com/office/drawing/2014/main" id="{D5190618-4665-4F2E-8844-020AD30239F6}"/>
                  </a:ext>
                </a:extLst>
              </p:cNvPr>
              <p:cNvCxnSpPr/>
              <p:nvPr userDrawn="1"/>
            </p:nvCxnSpPr>
            <p:spPr>
              <a:xfrm flipV="1">
                <a:off x="267428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56">
                <a:extLst>
                  <a:ext uri="{FF2B5EF4-FFF2-40B4-BE49-F238E27FC236}">
                    <a16:creationId xmlns:a16="http://schemas.microsoft.com/office/drawing/2014/main" id="{E501E497-7672-440E-967B-911C1D6B4B10}"/>
                  </a:ext>
                </a:extLst>
              </p:cNvPr>
              <p:cNvCxnSpPr/>
              <p:nvPr userDrawn="1"/>
            </p:nvCxnSpPr>
            <p:spPr>
              <a:xfrm flipV="1">
                <a:off x="23085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57">
                <a:extLst>
                  <a:ext uri="{FF2B5EF4-FFF2-40B4-BE49-F238E27FC236}">
                    <a16:creationId xmlns:a16="http://schemas.microsoft.com/office/drawing/2014/main" id="{8A688C29-83E0-4CC9-A8C5-B6B30A57710C}"/>
                  </a:ext>
                </a:extLst>
              </p:cNvPr>
              <p:cNvCxnSpPr/>
              <p:nvPr userDrawn="1"/>
            </p:nvCxnSpPr>
            <p:spPr>
              <a:xfrm flipV="1">
                <a:off x="193107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58">
                <a:extLst>
                  <a:ext uri="{FF2B5EF4-FFF2-40B4-BE49-F238E27FC236}">
                    <a16:creationId xmlns:a16="http://schemas.microsoft.com/office/drawing/2014/main" id="{8D3348AE-2C08-472A-92E4-12BF79B738D1}"/>
                  </a:ext>
                </a:extLst>
              </p:cNvPr>
              <p:cNvCxnSpPr/>
              <p:nvPr userDrawn="1"/>
            </p:nvCxnSpPr>
            <p:spPr>
              <a:xfrm flipV="1">
                <a:off x="155844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59">
                <a:extLst>
                  <a:ext uri="{FF2B5EF4-FFF2-40B4-BE49-F238E27FC236}">
                    <a16:creationId xmlns:a16="http://schemas.microsoft.com/office/drawing/2014/main" id="{D93531AE-9D57-49CA-BC46-F7384685F786}"/>
                  </a:ext>
                </a:extLst>
              </p:cNvPr>
              <p:cNvCxnSpPr/>
              <p:nvPr userDrawn="1"/>
            </p:nvCxnSpPr>
            <p:spPr>
              <a:xfrm flipV="1">
                <a:off x="11883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60">
                <a:extLst>
                  <a:ext uri="{FF2B5EF4-FFF2-40B4-BE49-F238E27FC236}">
                    <a16:creationId xmlns:a16="http://schemas.microsoft.com/office/drawing/2014/main" id="{6130565B-76F2-434C-8896-54E337D6B462}"/>
                  </a:ext>
                </a:extLst>
              </p:cNvPr>
              <p:cNvCxnSpPr/>
              <p:nvPr userDrawn="1"/>
            </p:nvCxnSpPr>
            <p:spPr>
              <a:xfrm flipV="1">
                <a:off x="81408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61">
                <a:extLst>
                  <a:ext uri="{FF2B5EF4-FFF2-40B4-BE49-F238E27FC236}">
                    <a16:creationId xmlns:a16="http://schemas.microsoft.com/office/drawing/2014/main" id="{A0D45B84-40CC-46CF-ACE4-C3A1732817B3}"/>
                  </a:ext>
                </a:extLst>
              </p:cNvPr>
              <p:cNvCxnSpPr/>
              <p:nvPr userDrawn="1"/>
            </p:nvCxnSpPr>
            <p:spPr>
              <a:xfrm flipV="1">
                <a:off x="4422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altLang="en-US" noProof="0"/>
              <a:t>CLICK TO EDIT MASTER TITLE STYLE</a:t>
            </a:r>
            <a:endParaRPr lang="en-US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009754-3A1E-461E-B289-FE7FC85C2E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263" y="882000"/>
            <a:ext cx="11732718" cy="5328000"/>
          </a:xfrm>
        </p:spPr>
        <p:txBody>
          <a:bodyPr/>
          <a:lstStyle>
            <a:lvl1pPr rtl="0">
              <a:defRPr sz="1795"/>
            </a:lvl1pPr>
            <a:lvl2pPr rtl="0">
              <a:defRPr sz="1795"/>
            </a:lvl2pPr>
            <a:lvl3pPr rtl="0">
              <a:defRPr sz="1795"/>
            </a:lvl3pPr>
            <a:lvl4pPr rtl="0">
              <a:defRPr sz="1795"/>
            </a:lvl4pPr>
            <a:lvl5pPr rtl="0">
              <a:defRPr sz="1795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36E105B-CE0E-D26C-7AB1-0C565B9448A8}"/>
              </a:ext>
            </a:extLst>
          </p:cNvPr>
          <p:cNvSpPr txBox="1"/>
          <p:nvPr userDrawn="1"/>
        </p:nvSpPr>
        <p:spPr>
          <a:xfrm>
            <a:off x="10102514" y="6654558"/>
            <a:ext cx="2089486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/>
            <a:r>
              <a:rPr lang="en-US" sz="898" b="0" i="1">
                <a:solidFill>
                  <a:schemeClr val="bg1"/>
                </a:solidFill>
                <a:effectLst/>
                <a:latin typeface="+mn-lt"/>
              </a:rPr>
              <a:t>Contract ref. 4000140625/23/FR/MA</a:t>
            </a:r>
            <a:endParaRPr lang="en-US" sz="898" b="0" i="1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744813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>
            <a:extLst>
              <a:ext uri="{FF2B5EF4-FFF2-40B4-BE49-F238E27FC236}">
                <a16:creationId xmlns:a16="http://schemas.microsoft.com/office/drawing/2014/main" id="{A6A534C1-CAC4-4381-A912-3C8CF3D839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2351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2" imgH="595" progId="TCLayout.ActiveDocument.1">
                  <p:embed/>
                </p:oleObj>
              </mc:Choice>
              <mc:Fallback>
                <p:oleObj name="Diapositive think-cell" r:id="rId3" imgW="592" imgH="595" progId="TCLayout.ActiveDocument.1">
                  <p:embed/>
                  <p:pic>
                    <p:nvPicPr>
                      <p:cNvPr id="34" name="Object 33" hidden="1">
                        <a:extLst>
                          <a:ext uri="{FF2B5EF4-FFF2-40B4-BE49-F238E27FC236}">
                            <a16:creationId xmlns:a16="http://schemas.microsoft.com/office/drawing/2014/main" id="{A6A534C1-CAC4-4381-A912-3C8CF3D839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35">
            <a:extLst>
              <a:ext uri="{FF2B5EF4-FFF2-40B4-BE49-F238E27FC236}">
                <a16:creationId xmlns:a16="http://schemas.microsoft.com/office/drawing/2014/main" id="{15C1165B-50AC-46F5-B945-37FE6AF1F392}"/>
              </a:ext>
            </a:extLst>
          </p:cNvPr>
          <p:cNvGrpSpPr/>
          <p:nvPr userDrawn="1"/>
        </p:nvGrpSpPr>
        <p:grpSpPr>
          <a:xfrm>
            <a:off x="-6565" y="-3"/>
            <a:ext cx="12269310" cy="6858003"/>
            <a:chOff x="-6566" y="-2"/>
            <a:chExt cx="12269309" cy="6858002"/>
          </a:xfrm>
        </p:grpSpPr>
        <p:sp>
          <p:nvSpPr>
            <p:cNvPr id="6" name="Rectangle 36" hidden="1">
              <a:extLst>
                <a:ext uri="{FF2B5EF4-FFF2-40B4-BE49-F238E27FC236}">
                  <a16:creationId xmlns:a16="http://schemas.microsoft.com/office/drawing/2014/main" id="{EA24BE63-1E38-4FA8-B27E-7568D000D456}"/>
                </a:ext>
              </a:extLst>
            </p:cNvPr>
            <p:cNvSpPr/>
            <p:nvPr userDrawn="1"/>
          </p:nvSpPr>
          <p:spPr>
            <a:xfrm>
              <a:off x="-6566" y="-2"/>
              <a:ext cx="12198565" cy="6858002"/>
            </a:xfrm>
            <a:prstGeom prst="rect">
              <a:avLst/>
            </a:prstGeom>
            <a:solidFill>
              <a:srgbClr val="0032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GB" sz="1298"/>
            </a:p>
          </p:txBody>
        </p:sp>
        <p:grpSp>
          <p:nvGrpSpPr>
            <p:cNvPr id="7" name="Group 37" hidden="1">
              <a:extLst>
                <a:ext uri="{FF2B5EF4-FFF2-40B4-BE49-F238E27FC236}">
                  <a16:creationId xmlns:a16="http://schemas.microsoft.com/office/drawing/2014/main" id="{D4DAB8E7-6AD7-4E3B-87D7-9C92D704A0D5}"/>
                </a:ext>
              </a:extLst>
            </p:cNvPr>
            <p:cNvGrpSpPr/>
            <p:nvPr userDrawn="1"/>
          </p:nvGrpSpPr>
          <p:grpSpPr>
            <a:xfrm>
              <a:off x="442260" y="3456849"/>
              <a:ext cx="11820483" cy="2970388"/>
              <a:chOff x="442260" y="3600153"/>
              <a:chExt cx="11820483" cy="2970388"/>
            </a:xfrm>
          </p:grpSpPr>
          <p:cxnSp>
            <p:nvCxnSpPr>
              <p:cNvPr id="8" name="Straight Connector 38">
                <a:extLst>
                  <a:ext uri="{FF2B5EF4-FFF2-40B4-BE49-F238E27FC236}">
                    <a16:creationId xmlns:a16="http://schemas.microsoft.com/office/drawing/2014/main" id="{0F24E6D8-B4AC-477C-A584-BF9803AD059A}"/>
                  </a:ext>
                </a:extLst>
              </p:cNvPr>
              <p:cNvCxnSpPr/>
              <p:nvPr userDrawn="1"/>
            </p:nvCxnSpPr>
            <p:spPr>
              <a:xfrm flipV="1">
                <a:off x="930228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39">
                <a:extLst>
                  <a:ext uri="{FF2B5EF4-FFF2-40B4-BE49-F238E27FC236}">
                    <a16:creationId xmlns:a16="http://schemas.microsoft.com/office/drawing/2014/main" id="{2AFEE107-23D8-49B8-B87B-287A589B06A3}"/>
                  </a:ext>
                </a:extLst>
              </p:cNvPr>
              <p:cNvCxnSpPr/>
              <p:nvPr userDrawn="1"/>
            </p:nvCxnSpPr>
            <p:spPr>
              <a:xfrm flipV="1">
                <a:off x="877305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40">
                <a:extLst>
                  <a:ext uri="{FF2B5EF4-FFF2-40B4-BE49-F238E27FC236}">
                    <a16:creationId xmlns:a16="http://schemas.microsoft.com/office/drawing/2014/main" id="{FC46F22B-8D16-44B9-B078-5202FAD5506C}"/>
                  </a:ext>
                </a:extLst>
              </p:cNvPr>
              <p:cNvCxnSpPr/>
              <p:nvPr userDrawn="1"/>
            </p:nvCxnSpPr>
            <p:spPr>
              <a:xfrm flipV="1">
                <a:off x="8235524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41">
                <a:extLst>
                  <a:ext uri="{FF2B5EF4-FFF2-40B4-BE49-F238E27FC236}">
                    <a16:creationId xmlns:a16="http://schemas.microsoft.com/office/drawing/2014/main" id="{84F40097-447D-4345-A231-8E06B5113DAF}"/>
                  </a:ext>
                </a:extLst>
              </p:cNvPr>
              <p:cNvCxnSpPr/>
              <p:nvPr userDrawn="1"/>
            </p:nvCxnSpPr>
            <p:spPr>
              <a:xfrm flipV="1">
                <a:off x="78660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42">
                <a:extLst>
                  <a:ext uri="{FF2B5EF4-FFF2-40B4-BE49-F238E27FC236}">
                    <a16:creationId xmlns:a16="http://schemas.microsoft.com/office/drawing/2014/main" id="{42254BF6-C2FE-484E-B8E5-A5FB6CAE68DA}"/>
                  </a:ext>
                </a:extLst>
              </p:cNvPr>
              <p:cNvCxnSpPr/>
              <p:nvPr userDrawn="1"/>
            </p:nvCxnSpPr>
            <p:spPr>
              <a:xfrm flipV="1">
                <a:off x="7498863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43">
                <a:extLst>
                  <a:ext uri="{FF2B5EF4-FFF2-40B4-BE49-F238E27FC236}">
                    <a16:creationId xmlns:a16="http://schemas.microsoft.com/office/drawing/2014/main" id="{E5B7F90F-FC2C-4515-8D32-89F631EBA147}"/>
                  </a:ext>
                </a:extLst>
              </p:cNvPr>
              <p:cNvCxnSpPr/>
              <p:nvPr userDrawn="1"/>
            </p:nvCxnSpPr>
            <p:spPr>
              <a:xfrm flipV="1">
                <a:off x="7127208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44">
                <a:extLst>
                  <a:ext uri="{FF2B5EF4-FFF2-40B4-BE49-F238E27FC236}">
                    <a16:creationId xmlns:a16="http://schemas.microsoft.com/office/drawing/2014/main" id="{E99345B2-5577-4798-8DBC-A8040E1C170C}"/>
                  </a:ext>
                </a:extLst>
              </p:cNvPr>
              <p:cNvCxnSpPr/>
              <p:nvPr userDrawn="1"/>
            </p:nvCxnSpPr>
            <p:spPr>
              <a:xfrm flipV="1">
                <a:off x="675865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45">
                <a:extLst>
                  <a:ext uri="{FF2B5EF4-FFF2-40B4-BE49-F238E27FC236}">
                    <a16:creationId xmlns:a16="http://schemas.microsoft.com/office/drawing/2014/main" id="{F327189C-9AB2-4BE4-BEFF-13F4E1778D06}"/>
                  </a:ext>
                </a:extLst>
              </p:cNvPr>
              <p:cNvCxnSpPr/>
              <p:nvPr userDrawn="1"/>
            </p:nvCxnSpPr>
            <p:spPr>
              <a:xfrm flipV="1">
                <a:off x="638946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46">
                <a:extLst>
                  <a:ext uri="{FF2B5EF4-FFF2-40B4-BE49-F238E27FC236}">
                    <a16:creationId xmlns:a16="http://schemas.microsoft.com/office/drawing/2014/main" id="{7F11114A-60DF-4358-A694-BB4FEEA2A6C7}"/>
                  </a:ext>
                </a:extLst>
              </p:cNvPr>
              <p:cNvCxnSpPr/>
              <p:nvPr userDrawn="1"/>
            </p:nvCxnSpPr>
            <p:spPr>
              <a:xfrm flipV="1">
                <a:off x="6009868" y="3607282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47">
                <a:extLst>
                  <a:ext uri="{FF2B5EF4-FFF2-40B4-BE49-F238E27FC236}">
                    <a16:creationId xmlns:a16="http://schemas.microsoft.com/office/drawing/2014/main" id="{A23FCE7B-565B-4C89-BB57-1638682A4280}"/>
                  </a:ext>
                </a:extLst>
              </p:cNvPr>
              <p:cNvCxnSpPr/>
              <p:nvPr userDrawn="1"/>
            </p:nvCxnSpPr>
            <p:spPr>
              <a:xfrm flipV="1">
                <a:off x="56439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48">
                <a:extLst>
                  <a:ext uri="{FF2B5EF4-FFF2-40B4-BE49-F238E27FC236}">
                    <a16:creationId xmlns:a16="http://schemas.microsoft.com/office/drawing/2014/main" id="{0E2613AD-9079-429A-BC7D-F00A04FEFC83}"/>
                  </a:ext>
                </a:extLst>
              </p:cNvPr>
              <p:cNvCxnSpPr/>
              <p:nvPr userDrawn="1"/>
            </p:nvCxnSpPr>
            <p:spPr>
              <a:xfrm flipV="1">
                <a:off x="526926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49">
                <a:extLst>
                  <a:ext uri="{FF2B5EF4-FFF2-40B4-BE49-F238E27FC236}">
                    <a16:creationId xmlns:a16="http://schemas.microsoft.com/office/drawing/2014/main" id="{D8432CDA-98D7-4A05-A0F3-EDA2D11BC74F}"/>
                  </a:ext>
                </a:extLst>
              </p:cNvPr>
              <p:cNvCxnSpPr/>
              <p:nvPr userDrawn="1"/>
            </p:nvCxnSpPr>
            <p:spPr>
              <a:xfrm flipV="1">
                <a:off x="48896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50">
                <a:extLst>
                  <a:ext uri="{FF2B5EF4-FFF2-40B4-BE49-F238E27FC236}">
                    <a16:creationId xmlns:a16="http://schemas.microsoft.com/office/drawing/2014/main" id="{9E761685-9937-4475-8FEE-7B969A517733}"/>
                  </a:ext>
                </a:extLst>
              </p:cNvPr>
              <p:cNvCxnSpPr/>
              <p:nvPr userDrawn="1"/>
            </p:nvCxnSpPr>
            <p:spPr>
              <a:xfrm flipV="1">
                <a:off x="452332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51">
                <a:extLst>
                  <a:ext uri="{FF2B5EF4-FFF2-40B4-BE49-F238E27FC236}">
                    <a16:creationId xmlns:a16="http://schemas.microsoft.com/office/drawing/2014/main" id="{504C3711-C622-42DC-9899-B3858E082F8D}"/>
                  </a:ext>
                </a:extLst>
              </p:cNvPr>
              <p:cNvCxnSpPr/>
              <p:nvPr userDrawn="1"/>
            </p:nvCxnSpPr>
            <p:spPr>
              <a:xfrm flipV="1">
                <a:off x="415592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52">
                <a:extLst>
                  <a:ext uri="{FF2B5EF4-FFF2-40B4-BE49-F238E27FC236}">
                    <a16:creationId xmlns:a16="http://schemas.microsoft.com/office/drawing/2014/main" id="{1A83ECB3-AA6D-4F83-A917-59F1F3CAF53A}"/>
                  </a:ext>
                </a:extLst>
              </p:cNvPr>
              <p:cNvCxnSpPr/>
              <p:nvPr userDrawn="1"/>
            </p:nvCxnSpPr>
            <p:spPr>
              <a:xfrm flipV="1">
                <a:off x="3786582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53">
                <a:extLst>
                  <a:ext uri="{FF2B5EF4-FFF2-40B4-BE49-F238E27FC236}">
                    <a16:creationId xmlns:a16="http://schemas.microsoft.com/office/drawing/2014/main" id="{3375B322-614F-48CD-9559-DDABC5D9313C}"/>
                  </a:ext>
                </a:extLst>
              </p:cNvPr>
              <p:cNvCxnSpPr/>
              <p:nvPr userDrawn="1"/>
            </p:nvCxnSpPr>
            <p:spPr>
              <a:xfrm flipV="1">
                <a:off x="342049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54">
                <a:extLst>
                  <a:ext uri="{FF2B5EF4-FFF2-40B4-BE49-F238E27FC236}">
                    <a16:creationId xmlns:a16="http://schemas.microsoft.com/office/drawing/2014/main" id="{B19264DC-7279-4EAE-9B3E-6C1ADC0DB8DF}"/>
                  </a:ext>
                </a:extLst>
              </p:cNvPr>
              <p:cNvCxnSpPr/>
              <p:nvPr userDrawn="1"/>
            </p:nvCxnSpPr>
            <p:spPr>
              <a:xfrm flipV="1">
                <a:off x="305109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55">
                <a:extLst>
                  <a:ext uri="{FF2B5EF4-FFF2-40B4-BE49-F238E27FC236}">
                    <a16:creationId xmlns:a16="http://schemas.microsoft.com/office/drawing/2014/main" id="{785CCA65-BECC-4A15-B2F7-9CCF558B8165}"/>
                  </a:ext>
                </a:extLst>
              </p:cNvPr>
              <p:cNvCxnSpPr/>
              <p:nvPr userDrawn="1"/>
            </p:nvCxnSpPr>
            <p:spPr>
              <a:xfrm flipV="1">
                <a:off x="267428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56">
                <a:extLst>
                  <a:ext uri="{FF2B5EF4-FFF2-40B4-BE49-F238E27FC236}">
                    <a16:creationId xmlns:a16="http://schemas.microsoft.com/office/drawing/2014/main" id="{7CC1776D-4ADE-4C0C-965F-79108AEEF1BC}"/>
                  </a:ext>
                </a:extLst>
              </p:cNvPr>
              <p:cNvCxnSpPr/>
              <p:nvPr userDrawn="1"/>
            </p:nvCxnSpPr>
            <p:spPr>
              <a:xfrm flipV="1">
                <a:off x="23085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57">
                <a:extLst>
                  <a:ext uri="{FF2B5EF4-FFF2-40B4-BE49-F238E27FC236}">
                    <a16:creationId xmlns:a16="http://schemas.microsoft.com/office/drawing/2014/main" id="{B55C28CF-9862-488A-8C81-3050036A705D}"/>
                  </a:ext>
                </a:extLst>
              </p:cNvPr>
              <p:cNvCxnSpPr/>
              <p:nvPr userDrawn="1"/>
            </p:nvCxnSpPr>
            <p:spPr>
              <a:xfrm flipV="1">
                <a:off x="193107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58">
                <a:extLst>
                  <a:ext uri="{FF2B5EF4-FFF2-40B4-BE49-F238E27FC236}">
                    <a16:creationId xmlns:a16="http://schemas.microsoft.com/office/drawing/2014/main" id="{21D5562D-7135-49BA-B33A-8426A8A0AD75}"/>
                  </a:ext>
                </a:extLst>
              </p:cNvPr>
              <p:cNvCxnSpPr/>
              <p:nvPr userDrawn="1"/>
            </p:nvCxnSpPr>
            <p:spPr>
              <a:xfrm flipV="1">
                <a:off x="155844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59">
                <a:extLst>
                  <a:ext uri="{FF2B5EF4-FFF2-40B4-BE49-F238E27FC236}">
                    <a16:creationId xmlns:a16="http://schemas.microsoft.com/office/drawing/2014/main" id="{F39A28E8-9029-4984-AFC2-3FD4EEC51BA7}"/>
                  </a:ext>
                </a:extLst>
              </p:cNvPr>
              <p:cNvCxnSpPr/>
              <p:nvPr userDrawn="1"/>
            </p:nvCxnSpPr>
            <p:spPr>
              <a:xfrm flipV="1">
                <a:off x="11883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60">
                <a:extLst>
                  <a:ext uri="{FF2B5EF4-FFF2-40B4-BE49-F238E27FC236}">
                    <a16:creationId xmlns:a16="http://schemas.microsoft.com/office/drawing/2014/main" id="{15D4F68C-30B2-45C2-BDD1-B6EBEE511F2B}"/>
                  </a:ext>
                </a:extLst>
              </p:cNvPr>
              <p:cNvCxnSpPr/>
              <p:nvPr userDrawn="1"/>
            </p:nvCxnSpPr>
            <p:spPr>
              <a:xfrm flipV="1">
                <a:off x="81408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61">
                <a:extLst>
                  <a:ext uri="{FF2B5EF4-FFF2-40B4-BE49-F238E27FC236}">
                    <a16:creationId xmlns:a16="http://schemas.microsoft.com/office/drawing/2014/main" id="{051ED23E-8584-4999-8EC5-84277C9290D3}"/>
                  </a:ext>
                </a:extLst>
              </p:cNvPr>
              <p:cNvCxnSpPr/>
              <p:nvPr userDrawn="1"/>
            </p:nvCxnSpPr>
            <p:spPr>
              <a:xfrm flipV="1">
                <a:off x="4422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olo 1">
            <a:extLst>
              <a:ext uri="{FF2B5EF4-FFF2-40B4-BE49-F238E27FC236}">
                <a16:creationId xmlns:a16="http://schemas.microsoft.com/office/drawing/2014/main" id="{94A4DDCC-9F42-4948-9645-E86435B98B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altLang="en-US" noProof="0"/>
              <a:t>CLICK TO EDIT MASTER TITLE STYLE</a:t>
            </a:r>
            <a:endParaRPr lang="en-US" noProof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E06FD5EE-114E-4722-B4F2-F97B4E5BFF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263" y="882000"/>
            <a:ext cx="11732718" cy="5328000"/>
          </a:xfrm>
        </p:spPr>
        <p:txBody>
          <a:bodyPr/>
          <a:lstStyle>
            <a:lvl1pPr rtl="0">
              <a:defRPr sz="1795"/>
            </a:lvl1pPr>
            <a:lvl2pPr rtl="0">
              <a:defRPr sz="1795"/>
            </a:lvl2pPr>
            <a:lvl3pPr rtl="0">
              <a:defRPr sz="1795"/>
            </a:lvl3pPr>
            <a:lvl4pPr rtl="0">
              <a:defRPr sz="1795"/>
            </a:lvl4pPr>
            <a:lvl5pPr rtl="0">
              <a:defRPr sz="1795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46A4415C-3223-40AA-9C39-316146802F95}"/>
              </a:ext>
            </a:extLst>
          </p:cNvPr>
          <p:cNvCxnSpPr/>
          <p:nvPr userDrawn="1"/>
        </p:nvCxnSpPr>
        <p:spPr>
          <a:xfrm>
            <a:off x="217667" y="882193"/>
            <a:ext cx="11736308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94E5E526-1743-7A3D-AFF2-31B9D3623BE5}"/>
              </a:ext>
            </a:extLst>
          </p:cNvPr>
          <p:cNvSpPr txBox="1"/>
          <p:nvPr userDrawn="1"/>
        </p:nvSpPr>
        <p:spPr>
          <a:xfrm>
            <a:off x="10102514" y="6654558"/>
            <a:ext cx="2089486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/>
            <a:r>
              <a:rPr lang="en-US" sz="898" b="0" i="1">
                <a:solidFill>
                  <a:schemeClr val="bg1"/>
                </a:solidFill>
                <a:effectLst/>
                <a:latin typeface="+mn-lt"/>
              </a:rPr>
              <a:t>Contract ref. 4000140625/23/FR/MA</a:t>
            </a:r>
            <a:endParaRPr lang="en-US" sz="898" b="0" i="1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564996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72A9F8C-6F39-49CD-B9EE-1D0DE65B0C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2696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2" imgH="595" progId="TCLayout.ActiveDocument.1">
                  <p:embed/>
                </p:oleObj>
              </mc:Choice>
              <mc:Fallback>
                <p:oleObj name="Diapositive think-cell" r:id="rId3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72A9F8C-6F39-49CD-B9EE-1D0DE65B0C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35">
            <a:extLst>
              <a:ext uri="{FF2B5EF4-FFF2-40B4-BE49-F238E27FC236}">
                <a16:creationId xmlns:a16="http://schemas.microsoft.com/office/drawing/2014/main" id="{79B5329C-A2C5-4ECB-BC98-1EE910A59C5C}"/>
              </a:ext>
            </a:extLst>
          </p:cNvPr>
          <p:cNvGrpSpPr/>
          <p:nvPr userDrawn="1"/>
        </p:nvGrpSpPr>
        <p:grpSpPr>
          <a:xfrm>
            <a:off x="-6565" y="-3"/>
            <a:ext cx="12269310" cy="6858003"/>
            <a:chOff x="-6566" y="-2"/>
            <a:chExt cx="12269309" cy="6858002"/>
          </a:xfrm>
        </p:grpSpPr>
        <p:sp>
          <p:nvSpPr>
            <p:cNvPr id="8" name="Rectangle 36" hidden="1">
              <a:extLst>
                <a:ext uri="{FF2B5EF4-FFF2-40B4-BE49-F238E27FC236}">
                  <a16:creationId xmlns:a16="http://schemas.microsoft.com/office/drawing/2014/main" id="{C8958B36-AB2D-48BD-9A47-6687DB792AE7}"/>
                </a:ext>
              </a:extLst>
            </p:cNvPr>
            <p:cNvSpPr/>
            <p:nvPr userDrawn="1"/>
          </p:nvSpPr>
          <p:spPr>
            <a:xfrm>
              <a:off x="-6566" y="-2"/>
              <a:ext cx="12198565" cy="6858002"/>
            </a:xfrm>
            <a:prstGeom prst="rect">
              <a:avLst/>
            </a:prstGeom>
            <a:solidFill>
              <a:srgbClr val="0032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GB" sz="1298"/>
            </a:p>
          </p:txBody>
        </p:sp>
        <p:grpSp>
          <p:nvGrpSpPr>
            <p:cNvPr id="9" name="Group 37" hidden="1">
              <a:extLst>
                <a:ext uri="{FF2B5EF4-FFF2-40B4-BE49-F238E27FC236}">
                  <a16:creationId xmlns:a16="http://schemas.microsoft.com/office/drawing/2014/main" id="{430FC37E-46B5-4BD2-9E97-2B76C0573440}"/>
                </a:ext>
              </a:extLst>
            </p:cNvPr>
            <p:cNvGrpSpPr/>
            <p:nvPr userDrawn="1"/>
          </p:nvGrpSpPr>
          <p:grpSpPr>
            <a:xfrm>
              <a:off x="442260" y="3456849"/>
              <a:ext cx="11820483" cy="2970388"/>
              <a:chOff x="442260" y="3600153"/>
              <a:chExt cx="11820483" cy="2970388"/>
            </a:xfrm>
          </p:grpSpPr>
          <p:cxnSp>
            <p:nvCxnSpPr>
              <p:cNvPr id="10" name="Straight Connector 38">
                <a:extLst>
                  <a:ext uri="{FF2B5EF4-FFF2-40B4-BE49-F238E27FC236}">
                    <a16:creationId xmlns:a16="http://schemas.microsoft.com/office/drawing/2014/main" id="{E63B12F6-68E5-4FD2-AE82-2C61E9FEC371}"/>
                  </a:ext>
                </a:extLst>
              </p:cNvPr>
              <p:cNvCxnSpPr/>
              <p:nvPr userDrawn="1"/>
            </p:nvCxnSpPr>
            <p:spPr>
              <a:xfrm flipV="1">
                <a:off x="930228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39">
                <a:extLst>
                  <a:ext uri="{FF2B5EF4-FFF2-40B4-BE49-F238E27FC236}">
                    <a16:creationId xmlns:a16="http://schemas.microsoft.com/office/drawing/2014/main" id="{3F18698A-2CC1-42F7-AFA2-0ED6A65A0467}"/>
                  </a:ext>
                </a:extLst>
              </p:cNvPr>
              <p:cNvCxnSpPr/>
              <p:nvPr userDrawn="1"/>
            </p:nvCxnSpPr>
            <p:spPr>
              <a:xfrm flipV="1">
                <a:off x="877305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40">
                <a:extLst>
                  <a:ext uri="{FF2B5EF4-FFF2-40B4-BE49-F238E27FC236}">
                    <a16:creationId xmlns:a16="http://schemas.microsoft.com/office/drawing/2014/main" id="{5A3E8D2A-FCB8-46D8-8E13-5DFD77E0857A}"/>
                  </a:ext>
                </a:extLst>
              </p:cNvPr>
              <p:cNvCxnSpPr/>
              <p:nvPr userDrawn="1"/>
            </p:nvCxnSpPr>
            <p:spPr>
              <a:xfrm flipV="1">
                <a:off x="8235524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41">
                <a:extLst>
                  <a:ext uri="{FF2B5EF4-FFF2-40B4-BE49-F238E27FC236}">
                    <a16:creationId xmlns:a16="http://schemas.microsoft.com/office/drawing/2014/main" id="{2A1A5DCC-95B9-432D-9319-E61A83F71866}"/>
                  </a:ext>
                </a:extLst>
              </p:cNvPr>
              <p:cNvCxnSpPr/>
              <p:nvPr userDrawn="1"/>
            </p:nvCxnSpPr>
            <p:spPr>
              <a:xfrm flipV="1">
                <a:off x="78660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42">
                <a:extLst>
                  <a:ext uri="{FF2B5EF4-FFF2-40B4-BE49-F238E27FC236}">
                    <a16:creationId xmlns:a16="http://schemas.microsoft.com/office/drawing/2014/main" id="{B8820250-F9E0-4311-BF0C-802AF6875CAD}"/>
                  </a:ext>
                </a:extLst>
              </p:cNvPr>
              <p:cNvCxnSpPr/>
              <p:nvPr userDrawn="1"/>
            </p:nvCxnSpPr>
            <p:spPr>
              <a:xfrm flipV="1">
                <a:off x="7498863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43">
                <a:extLst>
                  <a:ext uri="{FF2B5EF4-FFF2-40B4-BE49-F238E27FC236}">
                    <a16:creationId xmlns:a16="http://schemas.microsoft.com/office/drawing/2014/main" id="{388E2DD4-2471-4F2A-8590-D3A12C918E40}"/>
                  </a:ext>
                </a:extLst>
              </p:cNvPr>
              <p:cNvCxnSpPr/>
              <p:nvPr userDrawn="1"/>
            </p:nvCxnSpPr>
            <p:spPr>
              <a:xfrm flipV="1">
                <a:off x="7127208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44">
                <a:extLst>
                  <a:ext uri="{FF2B5EF4-FFF2-40B4-BE49-F238E27FC236}">
                    <a16:creationId xmlns:a16="http://schemas.microsoft.com/office/drawing/2014/main" id="{93FCA856-D622-4D05-8EC1-5A1167A0E484}"/>
                  </a:ext>
                </a:extLst>
              </p:cNvPr>
              <p:cNvCxnSpPr/>
              <p:nvPr userDrawn="1"/>
            </p:nvCxnSpPr>
            <p:spPr>
              <a:xfrm flipV="1">
                <a:off x="675865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45">
                <a:extLst>
                  <a:ext uri="{FF2B5EF4-FFF2-40B4-BE49-F238E27FC236}">
                    <a16:creationId xmlns:a16="http://schemas.microsoft.com/office/drawing/2014/main" id="{920EE15C-2FE5-464B-9141-CB9BF0147888}"/>
                  </a:ext>
                </a:extLst>
              </p:cNvPr>
              <p:cNvCxnSpPr/>
              <p:nvPr userDrawn="1"/>
            </p:nvCxnSpPr>
            <p:spPr>
              <a:xfrm flipV="1">
                <a:off x="638946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46">
                <a:extLst>
                  <a:ext uri="{FF2B5EF4-FFF2-40B4-BE49-F238E27FC236}">
                    <a16:creationId xmlns:a16="http://schemas.microsoft.com/office/drawing/2014/main" id="{4B6CEFD2-1B8D-4244-B930-8D2849ED397B}"/>
                  </a:ext>
                </a:extLst>
              </p:cNvPr>
              <p:cNvCxnSpPr/>
              <p:nvPr userDrawn="1"/>
            </p:nvCxnSpPr>
            <p:spPr>
              <a:xfrm flipV="1">
                <a:off x="6009868" y="3607282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47">
                <a:extLst>
                  <a:ext uri="{FF2B5EF4-FFF2-40B4-BE49-F238E27FC236}">
                    <a16:creationId xmlns:a16="http://schemas.microsoft.com/office/drawing/2014/main" id="{8A33E851-D6BA-438B-B03A-38CCF7C6E26B}"/>
                  </a:ext>
                </a:extLst>
              </p:cNvPr>
              <p:cNvCxnSpPr/>
              <p:nvPr userDrawn="1"/>
            </p:nvCxnSpPr>
            <p:spPr>
              <a:xfrm flipV="1">
                <a:off x="56439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48">
                <a:extLst>
                  <a:ext uri="{FF2B5EF4-FFF2-40B4-BE49-F238E27FC236}">
                    <a16:creationId xmlns:a16="http://schemas.microsoft.com/office/drawing/2014/main" id="{4A28DC0D-210E-4248-9128-A55D9A06369B}"/>
                  </a:ext>
                </a:extLst>
              </p:cNvPr>
              <p:cNvCxnSpPr/>
              <p:nvPr userDrawn="1"/>
            </p:nvCxnSpPr>
            <p:spPr>
              <a:xfrm flipV="1">
                <a:off x="526926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49">
                <a:extLst>
                  <a:ext uri="{FF2B5EF4-FFF2-40B4-BE49-F238E27FC236}">
                    <a16:creationId xmlns:a16="http://schemas.microsoft.com/office/drawing/2014/main" id="{1464FE7F-7592-47D7-8ADE-D22FEDEBFB3D}"/>
                  </a:ext>
                </a:extLst>
              </p:cNvPr>
              <p:cNvCxnSpPr/>
              <p:nvPr userDrawn="1"/>
            </p:nvCxnSpPr>
            <p:spPr>
              <a:xfrm flipV="1">
                <a:off x="48896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50">
                <a:extLst>
                  <a:ext uri="{FF2B5EF4-FFF2-40B4-BE49-F238E27FC236}">
                    <a16:creationId xmlns:a16="http://schemas.microsoft.com/office/drawing/2014/main" id="{B7EA4283-4EAA-4DD8-8791-6F9976FBC69B}"/>
                  </a:ext>
                </a:extLst>
              </p:cNvPr>
              <p:cNvCxnSpPr/>
              <p:nvPr userDrawn="1"/>
            </p:nvCxnSpPr>
            <p:spPr>
              <a:xfrm flipV="1">
                <a:off x="452332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51">
                <a:extLst>
                  <a:ext uri="{FF2B5EF4-FFF2-40B4-BE49-F238E27FC236}">
                    <a16:creationId xmlns:a16="http://schemas.microsoft.com/office/drawing/2014/main" id="{92F79F70-7C67-441A-BE5F-68EF88D42721}"/>
                  </a:ext>
                </a:extLst>
              </p:cNvPr>
              <p:cNvCxnSpPr/>
              <p:nvPr userDrawn="1"/>
            </p:nvCxnSpPr>
            <p:spPr>
              <a:xfrm flipV="1">
                <a:off x="415592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52">
                <a:extLst>
                  <a:ext uri="{FF2B5EF4-FFF2-40B4-BE49-F238E27FC236}">
                    <a16:creationId xmlns:a16="http://schemas.microsoft.com/office/drawing/2014/main" id="{235AD71C-D9EE-4E4E-81B5-BBAF4D8497D8}"/>
                  </a:ext>
                </a:extLst>
              </p:cNvPr>
              <p:cNvCxnSpPr/>
              <p:nvPr userDrawn="1"/>
            </p:nvCxnSpPr>
            <p:spPr>
              <a:xfrm flipV="1">
                <a:off x="3786582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53">
                <a:extLst>
                  <a:ext uri="{FF2B5EF4-FFF2-40B4-BE49-F238E27FC236}">
                    <a16:creationId xmlns:a16="http://schemas.microsoft.com/office/drawing/2014/main" id="{F97E8D7C-177F-4679-88B2-B2A1A0F63008}"/>
                  </a:ext>
                </a:extLst>
              </p:cNvPr>
              <p:cNvCxnSpPr/>
              <p:nvPr userDrawn="1"/>
            </p:nvCxnSpPr>
            <p:spPr>
              <a:xfrm flipV="1">
                <a:off x="342049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54">
                <a:extLst>
                  <a:ext uri="{FF2B5EF4-FFF2-40B4-BE49-F238E27FC236}">
                    <a16:creationId xmlns:a16="http://schemas.microsoft.com/office/drawing/2014/main" id="{CCBF4EED-8DF1-4D4C-9233-2A5AED92FAF5}"/>
                  </a:ext>
                </a:extLst>
              </p:cNvPr>
              <p:cNvCxnSpPr/>
              <p:nvPr userDrawn="1"/>
            </p:nvCxnSpPr>
            <p:spPr>
              <a:xfrm flipV="1">
                <a:off x="305109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55">
                <a:extLst>
                  <a:ext uri="{FF2B5EF4-FFF2-40B4-BE49-F238E27FC236}">
                    <a16:creationId xmlns:a16="http://schemas.microsoft.com/office/drawing/2014/main" id="{FE781963-B521-4090-B33E-52BA0D08DD4D}"/>
                  </a:ext>
                </a:extLst>
              </p:cNvPr>
              <p:cNvCxnSpPr/>
              <p:nvPr userDrawn="1"/>
            </p:nvCxnSpPr>
            <p:spPr>
              <a:xfrm flipV="1">
                <a:off x="267428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56">
                <a:extLst>
                  <a:ext uri="{FF2B5EF4-FFF2-40B4-BE49-F238E27FC236}">
                    <a16:creationId xmlns:a16="http://schemas.microsoft.com/office/drawing/2014/main" id="{97A5F321-E5FD-4460-AB50-6E7982BCF2C1}"/>
                  </a:ext>
                </a:extLst>
              </p:cNvPr>
              <p:cNvCxnSpPr/>
              <p:nvPr userDrawn="1"/>
            </p:nvCxnSpPr>
            <p:spPr>
              <a:xfrm flipV="1">
                <a:off x="23085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57">
                <a:extLst>
                  <a:ext uri="{FF2B5EF4-FFF2-40B4-BE49-F238E27FC236}">
                    <a16:creationId xmlns:a16="http://schemas.microsoft.com/office/drawing/2014/main" id="{77249232-6F79-4387-A6B7-F3681620C2C6}"/>
                  </a:ext>
                </a:extLst>
              </p:cNvPr>
              <p:cNvCxnSpPr/>
              <p:nvPr userDrawn="1"/>
            </p:nvCxnSpPr>
            <p:spPr>
              <a:xfrm flipV="1">
                <a:off x="193107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58">
                <a:extLst>
                  <a:ext uri="{FF2B5EF4-FFF2-40B4-BE49-F238E27FC236}">
                    <a16:creationId xmlns:a16="http://schemas.microsoft.com/office/drawing/2014/main" id="{0B03DDF2-C067-4050-B9E3-973ACB79D110}"/>
                  </a:ext>
                </a:extLst>
              </p:cNvPr>
              <p:cNvCxnSpPr/>
              <p:nvPr userDrawn="1"/>
            </p:nvCxnSpPr>
            <p:spPr>
              <a:xfrm flipV="1">
                <a:off x="155844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59">
                <a:extLst>
                  <a:ext uri="{FF2B5EF4-FFF2-40B4-BE49-F238E27FC236}">
                    <a16:creationId xmlns:a16="http://schemas.microsoft.com/office/drawing/2014/main" id="{2CCD4EA8-14AB-4EF3-AA4F-068028B23FD9}"/>
                  </a:ext>
                </a:extLst>
              </p:cNvPr>
              <p:cNvCxnSpPr/>
              <p:nvPr userDrawn="1"/>
            </p:nvCxnSpPr>
            <p:spPr>
              <a:xfrm flipV="1">
                <a:off x="11883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60">
                <a:extLst>
                  <a:ext uri="{FF2B5EF4-FFF2-40B4-BE49-F238E27FC236}">
                    <a16:creationId xmlns:a16="http://schemas.microsoft.com/office/drawing/2014/main" id="{C8AD15C4-17A1-4D20-A30D-913A27934A98}"/>
                  </a:ext>
                </a:extLst>
              </p:cNvPr>
              <p:cNvCxnSpPr/>
              <p:nvPr userDrawn="1"/>
            </p:nvCxnSpPr>
            <p:spPr>
              <a:xfrm flipV="1">
                <a:off x="81408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61">
                <a:extLst>
                  <a:ext uri="{FF2B5EF4-FFF2-40B4-BE49-F238E27FC236}">
                    <a16:creationId xmlns:a16="http://schemas.microsoft.com/office/drawing/2014/main" id="{53B14BAE-6D30-487C-A35C-CEEAB0526FC6}"/>
                  </a:ext>
                </a:extLst>
              </p:cNvPr>
              <p:cNvCxnSpPr/>
              <p:nvPr userDrawn="1"/>
            </p:nvCxnSpPr>
            <p:spPr>
              <a:xfrm flipV="1">
                <a:off x="4422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olo 1">
            <a:extLst>
              <a:ext uri="{FF2B5EF4-FFF2-40B4-BE49-F238E27FC236}">
                <a16:creationId xmlns:a16="http://schemas.microsoft.com/office/drawing/2014/main" id="{4CC007AC-F8AF-47C6-A900-868B5879D7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altLang="en-US" noProof="0"/>
              <a:t>CLICK TO EDIT MASTER TITLE STYLE</a:t>
            </a:r>
            <a:endParaRPr lang="en-US" noProof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6A3B02F-74FE-439F-AB2D-C6EF6331C160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218262" y="1674000"/>
            <a:ext cx="5773014" cy="4316400"/>
          </a:xfrm>
        </p:spPr>
        <p:txBody>
          <a:bodyPr/>
          <a:lstStyle>
            <a:lvl1pPr rtl="0">
              <a:defRPr sz="1795"/>
            </a:lvl1pPr>
            <a:lvl2pPr rtl="0">
              <a:defRPr sz="1795"/>
            </a:lvl2pPr>
            <a:lvl3pPr rtl="0">
              <a:defRPr sz="1795"/>
            </a:lvl3pPr>
            <a:lvl4pPr rtl="0">
              <a:defRPr sz="1795"/>
            </a:lvl4pPr>
            <a:lvl5pPr rtl="0">
              <a:defRPr sz="1795"/>
            </a:lvl5pPr>
            <a:lvl6pPr>
              <a:defRPr sz="1298"/>
            </a:lvl6pPr>
            <a:lvl7pPr>
              <a:defRPr sz="1298"/>
            </a:lvl7pPr>
            <a:lvl8pPr>
              <a:defRPr sz="1298"/>
            </a:lvl8pPr>
            <a:lvl9pPr>
              <a:defRPr sz="1298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FBA924DC-7418-41D7-8688-B9129965581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5885" y="1674000"/>
            <a:ext cx="5762244" cy="4316400"/>
          </a:xfrm>
        </p:spPr>
        <p:txBody>
          <a:bodyPr/>
          <a:lstStyle>
            <a:lvl1pPr rtl="0">
              <a:defRPr sz="1795"/>
            </a:lvl1pPr>
            <a:lvl2pPr rtl="0">
              <a:defRPr sz="1795"/>
            </a:lvl2pPr>
            <a:lvl3pPr rtl="0">
              <a:defRPr sz="1795"/>
            </a:lvl3pPr>
            <a:lvl4pPr rtl="0">
              <a:defRPr sz="1795"/>
            </a:lvl4pPr>
            <a:lvl5pPr rtl="0">
              <a:defRPr sz="1795"/>
            </a:lvl5pPr>
            <a:lvl6pPr>
              <a:defRPr sz="1298"/>
            </a:lvl6pPr>
            <a:lvl7pPr>
              <a:defRPr sz="1298"/>
            </a:lvl7pPr>
            <a:lvl8pPr>
              <a:defRPr sz="1298"/>
            </a:lvl8pPr>
            <a:lvl9pPr>
              <a:defRPr sz="1298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474DA607-7660-4BC3-BE10-CE82F2344A79}"/>
              </a:ext>
            </a:extLst>
          </p:cNvPr>
          <p:cNvCxnSpPr/>
          <p:nvPr userDrawn="1"/>
        </p:nvCxnSpPr>
        <p:spPr>
          <a:xfrm>
            <a:off x="217667" y="882193"/>
            <a:ext cx="11736308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99486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OLOUR_BG1">
    <p:bg>
      <p:bgPr>
        <a:solidFill>
          <a:srgbClr val="335E6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D6DFDD5-8B73-44A5-989B-9EB08D6F71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0336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2" imgH="595" progId="TCLayout.ActiveDocument.1">
                  <p:embed/>
                </p:oleObj>
              </mc:Choice>
              <mc:Fallback>
                <p:oleObj name="Diapositive think-cell" r:id="rId3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D6DFDD5-8B73-44A5-989B-9EB08D6F7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4F8E21D1-D3AB-467C-827A-60A3C231CE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altLang="en-US" noProof="0"/>
              <a:t>CLICK TO EDIT MASTER TITLE STYLE</a:t>
            </a:r>
            <a:endParaRPr lang="en-US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EECD27-029B-4C0A-8414-E1DCA07598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263" y="882000"/>
            <a:ext cx="11732718" cy="5328000"/>
          </a:xfrm>
        </p:spPr>
        <p:txBody>
          <a:bodyPr/>
          <a:lstStyle>
            <a:lvl1pPr rtl="0">
              <a:defRPr sz="1795"/>
            </a:lvl1pPr>
            <a:lvl2pPr rtl="0">
              <a:defRPr sz="1795"/>
            </a:lvl2pPr>
            <a:lvl3pPr rtl="0">
              <a:defRPr sz="1795"/>
            </a:lvl3pPr>
            <a:lvl4pPr rtl="0">
              <a:defRPr sz="1795"/>
            </a:lvl4pPr>
            <a:lvl5pPr rtl="0">
              <a:defRPr sz="1795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D2C6DB2-558F-4C84-B5E0-4624E082FC47}"/>
              </a:ext>
            </a:extLst>
          </p:cNvPr>
          <p:cNvCxnSpPr/>
          <p:nvPr userDrawn="1"/>
        </p:nvCxnSpPr>
        <p:spPr>
          <a:xfrm>
            <a:off x="217667" y="882193"/>
            <a:ext cx="11736308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39182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OLOUR_BG2">
    <p:bg>
      <p:bgPr>
        <a:solidFill>
          <a:srgbClr val="8197A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E2C57A7-2B7D-46C3-B518-AA7EAAC5E9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8777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2" imgH="595" progId="TCLayout.ActiveDocument.1">
                  <p:embed/>
                </p:oleObj>
              </mc:Choice>
              <mc:Fallback>
                <p:oleObj name="Diapositive think-cell" r:id="rId3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E2C57A7-2B7D-46C3-B518-AA7EAAC5E9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B454D428-23AE-4B01-BE91-F59947AAFD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5411" y="154800"/>
            <a:ext cx="10081234" cy="565200"/>
          </a:xfrm>
        </p:spPr>
        <p:txBody>
          <a:bodyPr vert="horz"/>
          <a:lstStyle>
            <a:lvl1pPr rtl="0">
              <a:defRPr sz="2992"/>
            </a:lvl1pPr>
          </a:lstStyle>
          <a:p>
            <a:r>
              <a:rPr lang="en-US" altLang="en-US" noProof="0"/>
              <a:t>CLICK TO EDIT MASTER TITLE STYLE</a:t>
            </a:r>
            <a:endParaRPr lang="en-US" noProof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9536C13B-CB48-4EFE-B92B-E0DF778BBE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001" y="882000"/>
            <a:ext cx="11732718" cy="5328000"/>
          </a:xfrm>
        </p:spPr>
        <p:txBody>
          <a:bodyPr/>
          <a:lstStyle>
            <a:lvl1pPr rtl="0">
              <a:defRPr sz="1795">
                <a:solidFill>
                  <a:srgbClr val="335E6F"/>
                </a:solidFill>
              </a:defRPr>
            </a:lvl1pPr>
            <a:lvl2pPr rtl="0">
              <a:defRPr sz="1795">
                <a:solidFill>
                  <a:srgbClr val="335E6F"/>
                </a:solidFill>
              </a:defRPr>
            </a:lvl2pPr>
            <a:lvl3pPr rtl="0">
              <a:defRPr sz="1795">
                <a:solidFill>
                  <a:srgbClr val="335E6F"/>
                </a:solidFill>
              </a:defRPr>
            </a:lvl3pPr>
            <a:lvl4pPr rtl="0">
              <a:defRPr sz="1795">
                <a:solidFill>
                  <a:srgbClr val="335E6F"/>
                </a:solidFill>
              </a:defRPr>
            </a:lvl4pPr>
            <a:lvl5pPr rtl="0">
              <a:defRPr sz="1795">
                <a:solidFill>
                  <a:srgbClr val="335E6F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39F78FA-F6D0-43E1-8D5E-F43274ADA42E}"/>
              </a:ext>
            </a:extLst>
          </p:cNvPr>
          <p:cNvCxnSpPr/>
          <p:nvPr userDrawn="1"/>
        </p:nvCxnSpPr>
        <p:spPr>
          <a:xfrm>
            <a:off x="217667" y="882193"/>
            <a:ext cx="11736308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Box 34">
            <a:extLst>
              <a:ext uri="{FF2B5EF4-FFF2-40B4-BE49-F238E27FC236}">
                <a16:creationId xmlns:a16="http://schemas.microsoft.com/office/drawing/2014/main" id="{EAF7257E-F8F1-46E7-AB31-BEECBE97600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590214" y="6202800"/>
            <a:ext cx="332784" cy="2151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Ins="0">
            <a:spAutoFit/>
          </a:bodyPr>
          <a:lstStyle/>
          <a:p>
            <a:pPr algn="r" rtl="0">
              <a:spcBef>
                <a:spcPct val="50000"/>
              </a:spcBef>
            </a:pPr>
            <a:r>
              <a:rPr lang="en-US" sz="798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fld id="{FDAC5C42-9B53-4063-AF51-A40D4C64F718}" type="slidenum">
              <a:rPr lang="en-US" sz="798" noProof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rtl="0">
                <a:spcBef>
                  <a:spcPct val="50000"/>
                </a:spcBef>
              </a:pPr>
              <a:t>‹#›</a:t>
            </a:fld>
            <a:endParaRPr lang="en-US" sz="798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11184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OLOUR_BG3">
    <p:bg>
      <p:bgPr>
        <a:solidFill>
          <a:srgbClr val="008E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FC7CFA4-E4E5-4EBF-BACF-2004F2AC42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0091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2" imgH="595" progId="TCLayout.ActiveDocument.1">
                  <p:embed/>
                </p:oleObj>
              </mc:Choice>
              <mc:Fallback>
                <p:oleObj name="Diapositive think-cell" r:id="rId3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FC7CFA4-E4E5-4EBF-BACF-2004F2AC42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86AEE28F-8201-4291-B91D-87424F6B0F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altLang="en-US" noProof="0"/>
              <a:t>CLICK TO EDIT MASTER TITLE STYLE</a:t>
            </a:r>
            <a:endParaRPr lang="en-US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6958D4-DB1F-4336-9FAC-F1310EA70D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263" y="882000"/>
            <a:ext cx="11732718" cy="5328000"/>
          </a:xfrm>
        </p:spPr>
        <p:txBody>
          <a:bodyPr/>
          <a:lstStyle>
            <a:lvl1pPr rtl="0">
              <a:defRPr sz="1795">
                <a:solidFill>
                  <a:srgbClr val="76C8AE"/>
                </a:solidFill>
              </a:defRPr>
            </a:lvl1pPr>
            <a:lvl2pPr rtl="0">
              <a:defRPr sz="1795">
                <a:solidFill>
                  <a:srgbClr val="76C8AE"/>
                </a:solidFill>
              </a:defRPr>
            </a:lvl2pPr>
            <a:lvl3pPr rtl="0">
              <a:defRPr sz="1795">
                <a:solidFill>
                  <a:srgbClr val="76C8AE"/>
                </a:solidFill>
              </a:defRPr>
            </a:lvl3pPr>
            <a:lvl4pPr rtl="0">
              <a:defRPr sz="1795">
                <a:solidFill>
                  <a:srgbClr val="76C8AE"/>
                </a:solidFill>
              </a:defRPr>
            </a:lvl4pPr>
            <a:lvl5pPr rtl="0">
              <a:defRPr sz="1795">
                <a:solidFill>
                  <a:srgbClr val="76C8AE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4F35ECC-E470-43DD-98A9-B01624008E8A}"/>
              </a:ext>
            </a:extLst>
          </p:cNvPr>
          <p:cNvCxnSpPr/>
          <p:nvPr userDrawn="1"/>
        </p:nvCxnSpPr>
        <p:spPr>
          <a:xfrm>
            <a:off x="217667" y="882193"/>
            <a:ext cx="11736308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49238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OLOUR_BG4">
    <p:bg>
      <p:bgPr>
        <a:solidFill>
          <a:srgbClr val="9601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84FD15D-C236-42FE-85D1-60A6E186BF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373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2" imgH="595" progId="TCLayout.ActiveDocument.1">
                  <p:embed/>
                </p:oleObj>
              </mc:Choice>
              <mc:Fallback>
                <p:oleObj name="Diapositive think-cell" r:id="rId3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84FD15D-C236-42FE-85D1-60A6E186BF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D79134E1-D455-4C26-B381-3FC697018E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altLang="en-US" noProof="0"/>
              <a:t>CLICK TO EDIT MASTER TITLE STYLE</a:t>
            </a:r>
            <a:endParaRPr lang="en-US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4CBCA6-6806-4F98-BCC6-89DD1EF3B1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263" y="882000"/>
            <a:ext cx="11732718" cy="5328000"/>
          </a:xfrm>
        </p:spPr>
        <p:txBody>
          <a:bodyPr/>
          <a:lstStyle>
            <a:lvl1pPr rtl="0">
              <a:defRPr>
                <a:solidFill>
                  <a:srgbClr val="F1666A"/>
                </a:solidFill>
              </a:defRPr>
            </a:lvl1pPr>
            <a:lvl2pPr rtl="0">
              <a:defRPr>
                <a:solidFill>
                  <a:srgbClr val="F1666A"/>
                </a:solidFill>
              </a:defRPr>
            </a:lvl2pPr>
            <a:lvl3pPr rtl="0">
              <a:defRPr>
                <a:solidFill>
                  <a:srgbClr val="F1666A"/>
                </a:solidFill>
              </a:defRPr>
            </a:lvl3pPr>
            <a:lvl4pPr rtl="0">
              <a:defRPr>
                <a:solidFill>
                  <a:srgbClr val="F1666A"/>
                </a:solidFill>
              </a:defRPr>
            </a:lvl4pPr>
            <a:lvl5pPr rtl="0">
              <a:defRPr>
                <a:solidFill>
                  <a:srgbClr val="F1666A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B574315-B7CB-4D67-938B-343DBD8D47E1}"/>
              </a:ext>
            </a:extLst>
          </p:cNvPr>
          <p:cNvCxnSpPr/>
          <p:nvPr userDrawn="1"/>
        </p:nvCxnSpPr>
        <p:spPr>
          <a:xfrm>
            <a:off x="217667" y="882193"/>
            <a:ext cx="11736308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850617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OLOUR_BG5">
    <p:bg>
      <p:bgPr>
        <a:solidFill>
          <a:srgbClr val="F4792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B8BF997-2DD4-43AD-8ACE-488027F396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9684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2" imgH="595" progId="TCLayout.ActiveDocument.1">
                  <p:embed/>
                </p:oleObj>
              </mc:Choice>
              <mc:Fallback>
                <p:oleObj name="Diapositive think-cell" r:id="rId3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B8BF997-2DD4-43AD-8ACE-488027F396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67E46C08-64B4-42D6-AF34-8AC1C34A0C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5411" y="154800"/>
            <a:ext cx="10081234" cy="56520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altLang="en-US" noProof="0"/>
              <a:t>CLICK TO EDIT MASTER TITLE STYLE</a:t>
            </a:r>
            <a:endParaRPr lang="en-US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29B6CC-D6D4-4607-B2F0-95D88CF4864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8263" y="882000"/>
            <a:ext cx="11732718" cy="5328000"/>
          </a:xfrm>
        </p:spPr>
        <p:txBody>
          <a:bodyPr/>
          <a:lstStyle>
            <a:lvl1pPr rtl="0">
              <a:defRPr sz="1795">
                <a:solidFill>
                  <a:srgbClr val="FFCC4E"/>
                </a:solidFill>
              </a:defRPr>
            </a:lvl1pPr>
            <a:lvl2pPr rtl="0">
              <a:defRPr sz="1795">
                <a:solidFill>
                  <a:srgbClr val="FFCC4E"/>
                </a:solidFill>
              </a:defRPr>
            </a:lvl2pPr>
            <a:lvl3pPr rtl="0">
              <a:defRPr sz="1795">
                <a:solidFill>
                  <a:srgbClr val="FFCC4E"/>
                </a:solidFill>
              </a:defRPr>
            </a:lvl3pPr>
            <a:lvl4pPr rtl="0">
              <a:defRPr sz="1795">
                <a:solidFill>
                  <a:srgbClr val="FFCC4E"/>
                </a:solidFill>
              </a:defRPr>
            </a:lvl4pPr>
            <a:lvl5pPr rtl="0">
              <a:defRPr sz="1795">
                <a:solidFill>
                  <a:srgbClr val="FFCC4E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 err="1"/>
              <a:t>fth</a:t>
            </a:r>
            <a:r>
              <a:rPr lang="en-US" noProof="0"/>
              <a:t>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629367B-34A8-4563-A1F3-2FC66FD3EB06}"/>
              </a:ext>
            </a:extLst>
          </p:cNvPr>
          <p:cNvCxnSpPr/>
          <p:nvPr userDrawn="1"/>
        </p:nvCxnSpPr>
        <p:spPr>
          <a:xfrm>
            <a:off x="217667" y="882193"/>
            <a:ext cx="11736308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938027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OLOUR_BG6">
    <p:bg>
      <p:bgPr>
        <a:solidFill>
          <a:srgbClr val="00619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2BB2774-9FCB-4624-BC78-6868F1A1B7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5308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2" imgH="595" progId="TCLayout.ActiveDocument.1">
                  <p:embed/>
                </p:oleObj>
              </mc:Choice>
              <mc:Fallback>
                <p:oleObj name="Diapositive think-cell" r:id="rId3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2BB2774-9FCB-4624-BC78-6868F1A1B7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C25B35B1-EFE6-4875-B916-1BC8765B5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altLang="en-US" noProof="0"/>
              <a:t>CLICK TO EDIT MASTER TITLE STYLE</a:t>
            </a:r>
            <a:endParaRPr lang="en-US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32693-5FF5-4EE9-BE3E-903A4B28FE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263" y="882000"/>
            <a:ext cx="11732718" cy="5328000"/>
          </a:xfrm>
        </p:spPr>
        <p:txBody>
          <a:bodyPr/>
          <a:lstStyle>
            <a:lvl1pPr rtl="0">
              <a:defRPr sz="1795">
                <a:solidFill>
                  <a:srgbClr val="009BDB"/>
                </a:solidFill>
              </a:defRPr>
            </a:lvl1pPr>
            <a:lvl2pPr rtl="0">
              <a:defRPr sz="1795">
                <a:solidFill>
                  <a:srgbClr val="009BDB"/>
                </a:solidFill>
              </a:defRPr>
            </a:lvl2pPr>
            <a:lvl3pPr rtl="0">
              <a:defRPr sz="1795">
                <a:solidFill>
                  <a:srgbClr val="009BDB"/>
                </a:solidFill>
              </a:defRPr>
            </a:lvl3pPr>
            <a:lvl4pPr rtl="0">
              <a:defRPr sz="1795">
                <a:solidFill>
                  <a:srgbClr val="009BDB"/>
                </a:solidFill>
              </a:defRPr>
            </a:lvl4pPr>
            <a:lvl5pPr rtl="0">
              <a:defRPr sz="1795">
                <a:solidFill>
                  <a:srgbClr val="009BDB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E75EAA0-B23C-4CF3-8040-68232CDD55A5}"/>
              </a:ext>
            </a:extLst>
          </p:cNvPr>
          <p:cNvCxnSpPr/>
          <p:nvPr userDrawn="1"/>
        </p:nvCxnSpPr>
        <p:spPr>
          <a:xfrm>
            <a:off x="217667" y="882193"/>
            <a:ext cx="11736308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14639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EAR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BCD1C39-2AD2-4F5C-A406-A545507EAB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4937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2" imgH="595" progId="TCLayout.ActiveDocument.1">
                  <p:embed/>
                </p:oleObj>
              </mc:Choice>
              <mc:Fallback>
                <p:oleObj name="Diapositive think-cell" r:id="rId3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BCD1C39-2AD2-4F5C-A406-A545507EAB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7">
            <a:extLst>
              <a:ext uri="{FF2B5EF4-FFF2-40B4-BE49-F238E27FC236}">
                <a16:creationId xmlns:a16="http://schemas.microsoft.com/office/drawing/2014/main" id="{DA6F988C-F9E9-488F-B04A-A6A5E348FB48}"/>
              </a:ext>
            </a:extLst>
          </p:cNvPr>
          <p:cNvSpPr/>
          <p:nvPr userDrawn="1"/>
        </p:nvSpPr>
        <p:spPr>
          <a:xfrm>
            <a:off x="0" y="0"/>
            <a:ext cx="12192000" cy="882193"/>
          </a:xfrm>
          <a:prstGeom prst="rect">
            <a:avLst/>
          </a:prstGeom>
          <a:solidFill>
            <a:srgbClr val="0032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269"/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FB711613-D936-4B0D-87EB-6F0E6CE908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algn="l"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altLang="en-US" noProof="0"/>
              <a:t>CLICK TO EDIT MASTER TITLE STYLE</a:t>
            </a:r>
            <a:endParaRPr lang="en-US" noProof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8D686FA-69F1-452F-8A03-7EBE0FAEF4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001" y="882196"/>
            <a:ext cx="11732718" cy="5328000"/>
          </a:xfrm>
        </p:spPr>
        <p:txBody>
          <a:bodyPr/>
          <a:lstStyle>
            <a:lvl1pPr rtl="0">
              <a:defRPr sz="1795"/>
            </a:lvl1pPr>
            <a:lvl2pPr rtl="0">
              <a:defRPr sz="1795"/>
            </a:lvl2pPr>
            <a:lvl3pPr rtl="0">
              <a:defRPr sz="1795"/>
            </a:lvl3pPr>
            <a:lvl4pPr rtl="0">
              <a:defRPr sz="1795"/>
            </a:lvl4pPr>
            <a:lvl5pPr rtl="0">
              <a:defRPr sz="1795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CB0AC2C-C495-9D4C-B412-174B5899FD6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03315" y="-216085"/>
            <a:ext cx="2088182" cy="131400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FD03D16-060D-4760-9512-2863FE01A681}"/>
              </a:ext>
            </a:extLst>
          </p:cNvPr>
          <p:cNvCxnSpPr>
            <a:cxnSpLocks/>
          </p:cNvCxnSpPr>
          <p:nvPr userDrawn="1"/>
        </p:nvCxnSpPr>
        <p:spPr>
          <a:xfrm>
            <a:off x="220831" y="6422971"/>
            <a:ext cx="11703996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389938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LOSING1">
    <p:bg>
      <p:bgPr>
        <a:solidFill>
          <a:srgbClr val="0032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1F3BCC8-3BB1-4379-8D06-9A6A8DD4F9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79316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2" imgH="595" progId="TCLayout.ActiveDocument.1">
                  <p:embed/>
                </p:oleObj>
              </mc:Choice>
              <mc:Fallback>
                <p:oleObj name="Diapositive think-cell" r:id="rId3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1F3BCC8-3BB1-4379-8D06-9A6A8DD4F9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>
            <a:extLst>
              <a:ext uri="{FF2B5EF4-FFF2-40B4-BE49-F238E27FC236}">
                <a16:creationId xmlns:a16="http://schemas.microsoft.com/office/drawing/2014/main" id="{49F9D6BA-4369-4A77-B906-1DB3998CAEE6}"/>
              </a:ext>
            </a:extLst>
          </p:cNvPr>
          <p:cNvSpPr/>
          <p:nvPr userDrawn="1"/>
        </p:nvSpPr>
        <p:spPr>
          <a:xfrm>
            <a:off x="0" y="0"/>
            <a:ext cx="12243834" cy="6858000"/>
          </a:xfrm>
          <a:prstGeom prst="rect">
            <a:avLst/>
          </a:prstGeom>
          <a:solidFill>
            <a:srgbClr val="335E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795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1D3BEF3-BA94-4314-8B5C-E1B50DD15057}"/>
              </a:ext>
            </a:extLst>
          </p:cNvPr>
          <p:cNvSpPr/>
          <p:nvPr userDrawn="1"/>
        </p:nvSpPr>
        <p:spPr>
          <a:xfrm flipH="1">
            <a:off x="4686301" y="2011305"/>
            <a:ext cx="2819400" cy="2819035"/>
          </a:xfrm>
          <a:prstGeom prst="rect">
            <a:avLst/>
          </a:prstGeom>
          <a:solidFill>
            <a:srgbClr val="003249"/>
          </a:solidFill>
          <a:ln w="9525">
            <a:solidFill>
              <a:srgbClr val="0032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269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9F16787-8A53-41D0-B7DB-805E3E72C17B}"/>
              </a:ext>
            </a:extLst>
          </p:cNvPr>
          <p:cNvSpPr txBox="1">
            <a:spLocks/>
          </p:cNvSpPr>
          <p:nvPr userDrawn="1"/>
        </p:nvSpPr>
        <p:spPr>
          <a:xfrm>
            <a:off x="4686301" y="4524208"/>
            <a:ext cx="2812780" cy="314495"/>
          </a:xfrm>
          <a:prstGeom prst="rect">
            <a:avLst/>
          </a:prstGeom>
        </p:spPr>
        <p:txBody>
          <a:bodyPr vert="horz" lIns="65971" tIns="32986" rIns="65971" bIns="32986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0"/>
            <a:endParaRPr lang="en-US" sz="1010">
              <a:solidFill>
                <a:srgbClr val="8197A6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7BEF393-6511-46BA-9E6C-1CDE034CBF68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4686301" y="2041527"/>
            <a:ext cx="2819402" cy="235902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 rtl="0">
              <a:buNone/>
              <a:defRPr sz="2134" b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329845" indent="0">
              <a:buNone/>
              <a:defRPr sz="1443" b="1"/>
            </a:lvl2pPr>
            <a:lvl3pPr marL="659691" indent="0">
              <a:buNone/>
              <a:defRPr sz="1298" b="1"/>
            </a:lvl3pPr>
            <a:lvl4pPr marL="989536" indent="0">
              <a:buNone/>
              <a:defRPr sz="1154" b="1"/>
            </a:lvl4pPr>
            <a:lvl5pPr marL="1319382" indent="0">
              <a:buNone/>
              <a:defRPr sz="1154" b="1"/>
            </a:lvl5pPr>
            <a:lvl6pPr marL="1649227" indent="0">
              <a:buNone/>
              <a:defRPr sz="1154" b="1"/>
            </a:lvl6pPr>
            <a:lvl7pPr marL="1979073" indent="0">
              <a:buNone/>
              <a:defRPr sz="1154" b="1"/>
            </a:lvl7pPr>
            <a:lvl8pPr marL="2308918" indent="0">
              <a:buNone/>
              <a:defRPr sz="1154" b="1"/>
            </a:lvl8pPr>
            <a:lvl9pPr marL="2638764" indent="0">
              <a:buNone/>
              <a:defRPr sz="1154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142739B0-932D-4E43-A871-586E86D63CDA}"/>
              </a:ext>
            </a:extLst>
          </p:cNvPr>
          <p:cNvSpPr txBox="1">
            <a:spLocks/>
          </p:cNvSpPr>
          <p:nvPr userDrawn="1"/>
        </p:nvSpPr>
        <p:spPr>
          <a:xfrm>
            <a:off x="4686301" y="1740025"/>
            <a:ext cx="2819402" cy="261521"/>
          </a:xfrm>
          <a:prstGeom prst="rect">
            <a:avLst/>
          </a:prstGeom>
        </p:spPr>
        <p:txBody>
          <a:bodyPr vert="horz" lIns="65971" tIns="32986" rIns="65971" bIns="32986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n-US" sz="794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Produced by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95EE1E9-8C9C-4791-ADEC-8A6CB2EB49B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686301" y="4406775"/>
            <a:ext cx="2819402" cy="4235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rtl="0">
              <a:buNone/>
              <a:defRPr sz="1496" b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329845" indent="0">
              <a:buNone/>
              <a:defRPr sz="1443" b="1"/>
            </a:lvl2pPr>
            <a:lvl3pPr marL="659691" indent="0">
              <a:buNone/>
              <a:defRPr sz="1298" b="1"/>
            </a:lvl3pPr>
            <a:lvl4pPr marL="989536" indent="0">
              <a:buNone/>
              <a:defRPr sz="1154" b="1"/>
            </a:lvl4pPr>
            <a:lvl5pPr marL="1319382" indent="0">
              <a:buNone/>
              <a:defRPr sz="1154" b="1"/>
            </a:lvl5pPr>
            <a:lvl6pPr marL="1649227" indent="0">
              <a:buNone/>
              <a:defRPr sz="1154" b="1"/>
            </a:lvl6pPr>
            <a:lvl7pPr marL="1979073" indent="0">
              <a:buNone/>
              <a:defRPr sz="1154" b="1"/>
            </a:lvl7pPr>
            <a:lvl8pPr marL="2308918" indent="0">
              <a:buNone/>
              <a:defRPr sz="1154" b="1"/>
            </a:lvl8pPr>
            <a:lvl9pPr marL="2638764" indent="0">
              <a:buNone/>
              <a:defRPr sz="1154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7587875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C5D7E5-BFD6-4789-B5C8-B1BF65D09E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9117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2" imgH="595" progId="TCLayout.ActiveDocument.1">
                  <p:embed/>
                </p:oleObj>
              </mc:Choice>
              <mc:Fallback>
                <p:oleObj name="Diapositive think-cell" r:id="rId3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C5D7E5-BFD6-4789-B5C8-B1BF65D09E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169">
            <a:extLst>
              <a:ext uri="{FF2B5EF4-FFF2-40B4-BE49-F238E27FC236}">
                <a16:creationId xmlns:a16="http://schemas.microsoft.com/office/drawing/2014/main" id="{62C2602F-BC1F-4AC9-8F8F-37D4246EC5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5851" cy="6878925"/>
          </a:xfrm>
          <a:prstGeom prst="rect">
            <a:avLst/>
          </a:prstGeom>
        </p:spPr>
      </p:pic>
      <p:sp>
        <p:nvSpPr>
          <p:cNvPr id="90" name="Rectangle 4">
            <a:extLst>
              <a:ext uri="{FF2B5EF4-FFF2-40B4-BE49-F238E27FC236}">
                <a16:creationId xmlns:a16="http://schemas.microsoft.com/office/drawing/2014/main" id="{FBF93EDD-5149-43C3-AE03-E4F5F512FE93}"/>
              </a:ext>
            </a:extLst>
          </p:cNvPr>
          <p:cNvSpPr/>
          <p:nvPr userDrawn="1"/>
        </p:nvSpPr>
        <p:spPr>
          <a:xfrm>
            <a:off x="1" y="-2"/>
            <a:ext cx="12192000" cy="6878925"/>
          </a:xfrm>
          <a:prstGeom prst="rect">
            <a:avLst/>
          </a:prstGeom>
          <a:solidFill>
            <a:srgbClr val="003249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795"/>
          </a:p>
        </p:txBody>
      </p:sp>
      <p:sp>
        <p:nvSpPr>
          <p:cNvPr id="56323" name="Rectangle 2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18375" y="5258118"/>
            <a:ext cx="10598400" cy="38145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rtl="0">
              <a:buFont typeface="Verdana" pitchFamily="34" charset="0"/>
              <a:buNone/>
              <a:defRPr sz="1731"/>
            </a:lvl1pPr>
          </a:lstStyle>
          <a:p>
            <a:pPr lvl="0"/>
            <a:r>
              <a:rPr lang="en-US" noProof="0" err="1"/>
              <a:t>SubTitle</a:t>
            </a:r>
            <a:endParaRPr lang="en-US" noProof="0"/>
          </a:p>
        </p:txBody>
      </p:sp>
      <p:sp>
        <p:nvSpPr>
          <p:cNvPr id="56325" name="Rectangle 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25656" y="3351588"/>
            <a:ext cx="11833243" cy="707886"/>
          </a:xfrm>
          <a:prstGeom prst="rect">
            <a:avLst/>
          </a:prstGeom>
        </p:spPr>
        <p:txBody>
          <a:bodyPr vert="horz"/>
          <a:lstStyle>
            <a:lvl1pPr algn="l" rtl="0">
              <a:defRPr sz="3989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NAME YOUR PRESENTATION</a:t>
            </a:r>
          </a:p>
        </p:txBody>
      </p:sp>
      <p:sp>
        <p:nvSpPr>
          <p:cNvPr id="56347" name="Text Box 27"/>
          <p:cNvSpPr txBox="1">
            <a:spLocks noChangeArrowheads="1"/>
          </p:cNvSpPr>
          <p:nvPr userDrawn="1"/>
        </p:nvSpPr>
        <p:spPr bwMode="auto">
          <a:xfrm>
            <a:off x="842434" y="6429376"/>
            <a:ext cx="6688666" cy="211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rtl="0">
              <a:spcBef>
                <a:spcPct val="50000"/>
              </a:spcBef>
            </a:pPr>
            <a:endParaRPr lang="en-US" sz="770" noProof="0"/>
          </a:p>
        </p:txBody>
      </p:sp>
      <p:cxnSp>
        <p:nvCxnSpPr>
          <p:cNvPr id="121" name="Straight Connector 64">
            <a:extLst>
              <a:ext uri="{FF2B5EF4-FFF2-40B4-BE49-F238E27FC236}">
                <a16:creationId xmlns:a16="http://schemas.microsoft.com/office/drawing/2014/main" id="{6B88ADAB-0C9C-4BC9-A42C-A57312626145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1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152">
            <a:extLst>
              <a:ext uri="{FF2B5EF4-FFF2-40B4-BE49-F238E27FC236}">
                <a16:creationId xmlns:a16="http://schemas.microsoft.com/office/drawing/2014/main" id="{357F7D0F-2D50-4418-8EB4-564A4B2CEE5B}"/>
              </a:ext>
            </a:extLst>
          </p:cNvPr>
          <p:cNvCxnSpPr>
            <a:cxnSpLocks/>
          </p:cNvCxnSpPr>
          <p:nvPr userDrawn="1"/>
        </p:nvCxnSpPr>
        <p:spPr>
          <a:xfrm>
            <a:off x="222591" y="4106871"/>
            <a:ext cx="11736308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Box 24">
            <a:extLst>
              <a:ext uri="{FF2B5EF4-FFF2-40B4-BE49-F238E27FC236}">
                <a16:creationId xmlns:a16="http://schemas.microsoft.com/office/drawing/2014/main" id="{7D33984A-D43C-428F-AB4A-04E5B59FAE7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801313" y="5406991"/>
            <a:ext cx="227325" cy="276999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>
            <a:spAutoFit/>
          </a:bodyPr>
          <a:lstStyle/>
          <a:p>
            <a:pPr algn="r" rtl="0">
              <a:spcBef>
                <a:spcPts val="0"/>
              </a:spcBef>
            </a:pPr>
            <a:r>
              <a:rPr lang="en-US" sz="119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4" name="Text Box 25">
            <a:extLst>
              <a:ext uri="{FF2B5EF4-FFF2-40B4-BE49-F238E27FC236}">
                <a16:creationId xmlns:a16="http://schemas.microsoft.com/office/drawing/2014/main" id="{7AB46881-5DF0-4A35-AA27-0D32ECF8235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779244" y="6156810"/>
            <a:ext cx="227326" cy="276999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>
            <a:spAutoFit/>
          </a:bodyPr>
          <a:lstStyle/>
          <a:p>
            <a:pPr algn="r" rtl="0">
              <a:spcBef>
                <a:spcPts val="0"/>
              </a:spcBef>
            </a:pPr>
            <a:r>
              <a:rPr lang="en-US" sz="119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5" name="Text Box 99">
            <a:extLst>
              <a:ext uri="{FF2B5EF4-FFF2-40B4-BE49-F238E27FC236}">
                <a16:creationId xmlns:a16="http://schemas.microsoft.com/office/drawing/2014/main" id="{D9FE3E1C-24B3-4F63-846C-260B4220AAC5}"/>
              </a:ext>
            </a:extLst>
          </p:cNvPr>
          <p:cNvSpPr/>
          <p:nvPr userDrawn="1"/>
        </p:nvSpPr>
        <p:spPr>
          <a:xfrm>
            <a:off x="11094664" y="5811879"/>
            <a:ext cx="911906" cy="217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rtl="0"/>
            <a:r>
              <a:rPr lang="en-US" sz="1197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0" name="Text Box 58"/>
          <p:cNvSpPr txBox="1">
            <a:spLocks noChangeArrowheads="1"/>
          </p:cNvSpPr>
          <p:nvPr userDrawn="1"/>
        </p:nvSpPr>
        <p:spPr bwMode="auto">
          <a:xfrm>
            <a:off x="222592" y="6213933"/>
            <a:ext cx="668866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anchor="b">
            <a:spAutoFit/>
          </a:bodyPr>
          <a:lstStyle/>
          <a:p>
            <a:pPr algn="l" rtl="0">
              <a:spcBef>
                <a:spcPct val="50000"/>
              </a:spcBef>
            </a:pPr>
            <a:r>
              <a:rPr lang="en-US" sz="798" noProof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A UNCLASSIFIED - For ESA Official Use Only</a:t>
            </a:r>
          </a:p>
        </p:txBody>
      </p:sp>
      <p:sp>
        <p:nvSpPr>
          <p:cNvPr id="4" name="Text Box 34">
            <a:extLst>
              <a:ext uri="{FF2B5EF4-FFF2-40B4-BE49-F238E27FC236}">
                <a16:creationId xmlns:a16="http://schemas.microsoft.com/office/drawing/2014/main" id="{936521E2-36D7-4AF3-B70B-FA4D9649E46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590214" y="6202801"/>
            <a:ext cx="332784" cy="2151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Ins="0">
            <a:spAutoFit/>
          </a:bodyPr>
          <a:lstStyle/>
          <a:p>
            <a:pPr algn="r" rtl="0">
              <a:spcBef>
                <a:spcPct val="50000"/>
              </a:spcBef>
            </a:pPr>
            <a:r>
              <a:rPr lang="en-US" sz="798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fld id="{FDAC5C42-9B53-4063-AF51-A40D4C64F718}" type="slidenum">
              <a:rPr lang="en-US" sz="798" noProof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rtl="0">
                <a:spcBef>
                  <a:spcPct val="50000"/>
                </a:spcBef>
              </a:pPr>
              <a:t>‹#›</a:t>
            </a:fld>
            <a:endParaRPr lang="en-US" sz="798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3" name="Picture 62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03315" y="-216085"/>
            <a:ext cx="2088182" cy="1314000"/>
          </a:xfrm>
          <a:prstGeom prst="rect">
            <a:avLst/>
          </a:prstGeom>
        </p:spPr>
      </p:pic>
      <p:pic>
        <p:nvPicPr>
          <p:cNvPr id="65" name="Picture 5">
            <a:extLst>
              <a:ext uri="{FF2B5EF4-FFF2-40B4-BE49-F238E27FC236}">
                <a16:creationId xmlns:a16="http://schemas.microsoft.com/office/drawing/2014/main" id="{BBC9EEE5-B210-445C-81EF-FEA569E56083}"/>
              </a:ext>
            </a:extLst>
          </p:cNvPr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14596" y="6584400"/>
            <a:ext cx="1636920" cy="104400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849" y="6465593"/>
            <a:ext cx="9929648" cy="405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84607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7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00"/>
                            </p:stCondLst>
                            <p:childTnLst>
                              <p:par>
                                <p:cTn id="14" presetID="2" presetClass="entr" presetSubtype="1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500"/>
                            </p:stCondLst>
                            <p:childTnLst>
                              <p:par>
                                <p:cTn id="1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500"/>
                            </p:stCondLst>
                            <p:childTnLst>
                              <p:par>
                                <p:cTn id="2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500"/>
                            </p:stCondLst>
                            <p:childTnLst>
                              <p:par>
                                <p:cTn id="30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32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4000"/>
                            </p:stCondLst>
                            <p:childTnLst>
                              <p:par>
                                <p:cTn id="3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563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4500"/>
                            </p:stCondLst>
                            <p:childTnLst>
                              <p:par>
                                <p:cTn id="3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563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5000"/>
                            </p:stCondLst>
                            <p:childTnLst>
                              <p:par>
                                <p:cTn id="42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0" grpId="0" animBg="1"/>
      <p:bldP spid="56323" grpId="0">
        <p:tmplLst>
          <p:tmpl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63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563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6325" grpId="0"/>
      <p:bldP spid="43" grpId="0" build="allAtOnce"/>
      <p:bldP spid="44" grpId="0" build="allAtOnce"/>
      <p:bldP spid="45" grpId="0" build="allAtOnce"/>
      <p:bldP spid="10" grpId="0"/>
    </p:bldLst>
  </p:timing>
  <p:hf sldNum="0"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EA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DBD22B-3981-43C9-B037-C8D01A1EBA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8727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2" imgH="595" progId="TCLayout.ActiveDocument.1">
                  <p:embed/>
                </p:oleObj>
              </mc:Choice>
              <mc:Fallback>
                <p:oleObj name="Diapositive think-cell" r:id="rId3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DBD22B-3981-43C9-B037-C8D01A1EBA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7">
            <a:extLst>
              <a:ext uri="{FF2B5EF4-FFF2-40B4-BE49-F238E27FC236}">
                <a16:creationId xmlns:a16="http://schemas.microsoft.com/office/drawing/2014/main" id="{DA6F988C-F9E9-488F-B04A-A6A5E348FB48}"/>
              </a:ext>
            </a:extLst>
          </p:cNvPr>
          <p:cNvSpPr/>
          <p:nvPr userDrawn="1"/>
        </p:nvSpPr>
        <p:spPr>
          <a:xfrm>
            <a:off x="0" y="0"/>
            <a:ext cx="12192000" cy="882193"/>
          </a:xfrm>
          <a:prstGeom prst="rect">
            <a:avLst/>
          </a:prstGeom>
          <a:solidFill>
            <a:srgbClr val="0032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269"/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FB711613-D936-4B0D-87EB-6F0E6CE908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algn="l"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altLang="en-US" noProof="0"/>
              <a:t>CLICK TO EDIT MASTER TITLE STYLE</a:t>
            </a:r>
            <a:endParaRPr lang="en-US" noProof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8D686FA-69F1-452F-8A03-7EBE0FAEF4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001" y="882196"/>
            <a:ext cx="11732718" cy="5328000"/>
          </a:xfrm>
        </p:spPr>
        <p:txBody>
          <a:bodyPr/>
          <a:lstStyle>
            <a:lvl1pPr rtl="0">
              <a:defRPr sz="1795"/>
            </a:lvl1pPr>
            <a:lvl2pPr rtl="0">
              <a:defRPr sz="1795"/>
            </a:lvl2pPr>
            <a:lvl3pPr rtl="0">
              <a:defRPr sz="1795"/>
            </a:lvl3pPr>
            <a:lvl4pPr rtl="0">
              <a:defRPr sz="1795"/>
            </a:lvl4pPr>
            <a:lvl5pPr rtl="0">
              <a:defRPr sz="1795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CB0AC2C-C495-9D4C-B412-174B5899FD6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03315" y="-216085"/>
            <a:ext cx="2088182" cy="131400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FD03D16-060D-4760-9512-2863FE01A681}"/>
              </a:ext>
            </a:extLst>
          </p:cNvPr>
          <p:cNvCxnSpPr>
            <a:cxnSpLocks/>
          </p:cNvCxnSpPr>
          <p:nvPr userDrawn="1"/>
        </p:nvCxnSpPr>
        <p:spPr>
          <a:xfrm>
            <a:off x="220831" y="6422971"/>
            <a:ext cx="11703996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963867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06AFC53-E870-4002-9219-829E3AE41C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24283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2" imgH="595" progId="TCLayout.ActiveDocument.1">
                  <p:embed/>
                </p:oleObj>
              </mc:Choice>
              <mc:Fallback>
                <p:oleObj name="Diapositive think-cell" r:id="rId3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06AFC53-E870-4002-9219-829E3AE41C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EC7C0E3E-0D11-4538-8949-D8211CDC6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algn="l" rtl="0"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0E7C54A7-24E4-4E66-907D-44DB138DAC0D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8263" y="882193"/>
            <a:ext cx="11732718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rtl="0">
              <a:defRPr sz="1795"/>
            </a:lvl1pPr>
            <a:lvl2pPr rtl="0">
              <a:defRPr sz="1795"/>
            </a:lvl2pPr>
            <a:lvl3pPr rtl="0">
              <a:defRPr sz="1795"/>
            </a:lvl3pPr>
            <a:lvl4pPr rtl="0">
              <a:defRPr sz="1795"/>
            </a:lvl4pPr>
            <a:lvl5pPr rtl="0">
              <a:defRPr sz="1795"/>
            </a:lvl5pPr>
          </a:lstStyle>
          <a:p>
            <a:pPr lvl="0"/>
            <a:r>
              <a:rPr lang="en-US" altLang="en-US" noProof="0"/>
              <a:t>Click to edit Master text styles</a:t>
            </a:r>
          </a:p>
          <a:p>
            <a:pPr lvl="1"/>
            <a:r>
              <a:rPr lang="en-US" altLang="en-US" noProof="0"/>
              <a:t>Second level</a:t>
            </a:r>
          </a:p>
          <a:p>
            <a:pPr lvl="2"/>
            <a:r>
              <a:rPr lang="en-US" altLang="en-US" noProof="0"/>
              <a:t>Third level</a:t>
            </a:r>
          </a:p>
          <a:p>
            <a:pPr lvl="3"/>
            <a:r>
              <a:rPr lang="en-US" altLang="en-US" noProof="0"/>
              <a:t>Fourth level</a:t>
            </a:r>
          </a:p>
          <a:p>
            <a:pPr lvl="4"/>
            <a:r>
              <a:rPr lang="en-US" altLang="en-US" noProof="0"/>
              <a:t>Fifth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A26AA14-B9DD-4FF8-8B2B-689FEBBACA1A}"/>
              </a:ext>
            </a:extLst>
          </p:cNvPr>
          <p:cNvCxnSpPr>
            <a:cxnSpLocks/>
          </p:cNvCxnSpPr>
          <p:nvPr userDrawn="1"/>
        </p:nvCxnSpPr>
        <p:spPr>
          <a:xfrm>
            <a:off x="220831" y="6422971"/>
            <a:ext cx="11703996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156419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DD67C3A-7713-4A12-B3CE-92F6E56EDD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32536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2" imgH="595" progId="TCLayout.ActiveDocument.1">
                  <p:embed/>
                </p:oleObj>
              </mc:Choice>
              <mc:Fallback>
                <p:oleObj name="Diapositive think-cell" r:id="rId3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DD67C3A-7713-4A12-B3CE-92F6E56ED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EC7C0E3E-0D11-4538-8949-D8211CDC6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algn="l" rtl="0"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0E7C54A7-24E4-4E66-907D-44DB138DAC0D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9001" y="882193"/>
            <a:ext cx="11732718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rtl="0">
              <a:defRPr sz="1795"/>
            </a:lvl1pPr>
            <a:lvl2pPr rtl="0">
              <a:defRPr sz="1795"/>
            </a:lvl2pPr>
            <a:lvl3pPr rtl="0">
              <a:defRPr sz="1795"/>
            </a:lvl3pPr>
            <a:lvl4pPr rtl="0">
              <a:defRPr sz="1795"/>
            </a:lvl4pPr>
            <a:lvl5pPr rtl="0">
              <a:defRPr sz="1795"/>
            </a:lvl5pPr>
          </a:lstStyle>
          <a:p>
            <a:pPr lvl="0"/>
            <a:r>
              <a:rPr lang="en-US" altLang="en-US" noProof="0"/>
              <a:t>Click to edit Master text styles</a:t>
            </a:r>
          </a:p>
          <a:p>
            <a:pPr lvl="1"/>
            <a:r>
              <a:rPr lang="en-US" altLang="en-US" noProof="0"/>
              <a:t>Second level</a:t>
            </a:r>
          </a:p>
          <a:p>
            <a:pPr lvl="2"/>
            <a:r>
              <a:rPr lang="en-US" altLang="en-US" noProof="0"/>
              <a:t>Third level</a:t>
            </a:r>
          </a:p>
          <a:p>
            <a:pPr lvl="3"/>
            <a:r>
              <a:rPr lang="en-US" altLang="en-US" noProof="0"/>
              <a:t>Fourth level</a:t>
            </a:r>
          </a:p>
          <a:p>
            <a:pPr lvl="4"/>
            <a:r>
              <a:rPr lang="en-US" altLang="en-US" noProof="0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DDE0A18-E398-40EE-9B5C-EFF1AB1879B0}"/>
              </a:ext>
            </a:extLst>
          </p:cNvPr>
          <p:cNvCxnSpPr>
            <a:cxnSpLocks/>
          </p:cNvCxnSpPr>
          <p:nvPr userDrawn="1"/>
        </p:nvCxnSpPr>
        <p:spPr>
          <a:xfrm>
            <a:off x="220831" y="6422971"/>
            <a:ext cx="11703996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54FC899-091E-48CC-B4A2-B442B733582F}"/>
              </a:ext>
            </a:extLst>
          </p:cNvPr>
          <p:cNvCxnSpPr/>
          <p:nvPr userDrawn="1"/>
        </p:nvCxnSpPr>
        <p:spPr>
          <a:xfrm>
            <a:off x="217667" y="882193"/>
            <a:ext cx="11736308" cy="0"/>
          </a:xfrm>
          <a:prstGeom prst="line">
            <a:avLst/>
          </a:prstGeom>
          <a:ln w="9525">
            <a:solidFill>
              <a:srgbClr val="0032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8243871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41C771D-CEBC-4677-A417-5F4818B8A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59504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2" imgH="595" progId="TCLayout.ActiveDocument.1">
                  <p:embed/>
                </p:oleObj>
              </mc:Choice>
              <mc:Fallback>
                <p:oleObj name="Diapositive think-cell" r:id="rId3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41C771D-CEBC-4677-A417-5F4818B8A4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EC7C0E3E-0D11-4538-8949-D8211CDC6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algn="l" rtl="0">
              <a:defRPr>
                <a:solidFill>
                  <a:srgbClr val="003249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9A1B071-1AF1-4E5C-847C-81B99F1817C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18263" y="1673225"/>
            <a:ext cx="5788844" cy="4318000"/>
          </a:xfrm>
        </p:spPr>
        <p:txBody>
          <a:bodyPr/>
          <a:lstStyle>
            <a:lvl1pPr rtl="0">
              <a:defRPr sz="1795"/>
            </a:lvl1pPr>
            <a:lvl2pPr rtl="0">
              <a:defRPr sz="1795"/>
            </a:lvl2pPr>
            <a:lvl3pPr rtl="0">
              <a:defRPr sz="1795"/>
            </a:lvl3pPr>
            <a:lvl4pPr rtl="0">
              <a:defRPr sz="1795"/>
            </a:lvl4pPr>
            <a:lvl5pPr rtl="0">
              <a:defRPr sz="1795"/>
            </a:lvl5pPr>
            <a:lvl6pPr>
              <a:defRPr sz="1298"/>
            </a:lvl6pPr>
            <a:lvl7pPr>
              <a:defRPr sz="1298"/>
            </a:lvl7pPr>
            <a:lvl8pPr>
              <a:defRPr sz="1298"/>
            </a:lvl8pPr>
            <a:lvl9pPr>
              <a:defRPr sz="1298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1FECB638-90E0-45FF-9E57-2E1BEA99D05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10297" y="1673225"/>
            <a:ext cx="5747139" cy="4318000"/>
          </a:xfrm>
        </p:spPr>
        <p:txBody>
          <a:bodyPr/>
          <a:lstStyle>
            <a:lvl1pPr rtl="0">
              <a:defRPr sz="1795"/>
            </a:lvl1pPr>
            <a:lvl2pPr rtl="0">
              <a:defRPr sz="1795"/>
            </a:lvl2pPr>
            <a:lvl3pPr rtl="0">
              <a:defRPr sz="1795"/>
            </a:lvl3pPr>
            <a:lvl4pPr rtl="0">
              <a:defRPr sz="1795"/>
            </a:lvl4pPr>
            <a:lvl5pPr rtl="0">
              <a:defRPr sz="1795"/>
            </a:lvl5pPr>
            <a:lvl6pPr>
              <a:defRPr sz="1298"/>
            </a:lvl6pPr>
            <a:lvl7pPr>
              <a:defRPr sz="1298"/>
            </a:lvl7pPr>
            <a:lvl8pPr>
              <a:defRPr sz="1298"/>
            </a:lvl8pPr>
            <a:lvl9pPr>
              <a:defRPr sz="1298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FE92DEE-E179-466F-A2E3-A937D4BD20BC}"/>
              </a:ext>
            </a:extLst>
          </p:cNvPr>
          <p:cNvCxnSpPr>
            <a:cxnSpLocks/>
          </p:cNvCxnSpPr>
          <p:nvPr userDrawn="1"/>
        </p:nvCxnSpPr>
        <p:spPr>
          <a:xfrm>
            <a:off x="220831" y="6422971"/>
            <a:ext cx="11703996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A69D56B-45C7-41CE-AF85-CFBD7346FBEF}"/>
              </a:ext>
            </a:extLst>
          </p:cNvPr>
          <p:cNvCxnSpPr/>
          <p:nvPr userDrawn="1"/>
        </p:nvCxnSpPr>
        <p:spPr>
          <a:xfrm>
            <a:off x="217667" y="882193"/>
            <a:ext cx="11736308" cy="0"/>
          </a:xfrm>
          <a:prstGeom prst="line">
            <a:avLst/>
          </a:prstGeom>
          <a:ln w="9525">
            <a:solidFill>
              <a:srgbClr val="0032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527358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_COLOUR_BG1">
    <p:bg>
      <p:bgPr>
        <a:solidFill>
          <a:srgbClr val="E8E9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56009D-5EAC-4DB1-8B31-E0F72F87C5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3139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2" imgH="595" progId="TCLayout.ActiveDocument.1">
                  <p:embed/>
                </p:oleObj>
              </mc:Choice>
              <mc:Fallback>
                <p:oleObj name="Diapositive think-cell" r:id="rId3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56009D-5EAC-4DB1-8B31-E0F72F87C5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EC7C0E3E-0D11-4538-8949-D8211CDC6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algn="l" rtl="0"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0E7C54A7-24E4-4E66-907D-44DB138DAC0D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9001" y="882000"/>
            <a:ext cx="11732718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rtl="0">
              <a:defRPr sz="1795"/>
            </a:lvl1pPr>
            <a:lvl2pPr rtl="0">
              <a:defRPr sz="1795"/>
            </a:lvl2pPr>
            <a:lvl3pPr rtl="0">
              <a:defRPr sz="1795"/>
            </a:lvl3pPr>
            <a:lvl4pPr rtl="0">
              <a:defRPr sz="1795"/>
            </a:lvl4pPr>
            <a:lvl5pPr rtl="0">
              <a:defRPr sz="1795"/>
            </a:lvl5pPr>
          </a:lstStyle>
          <a:p>
            <a:pPr lvl="0"/>
            <a:r>
              <a:rPr lang="en-US" altLang="en-US" noProof="0"/>
              <a:t>Click to edit Master text styles</a:t>
            </a:r>
          </a:p>
          <a:p>
            <a:pPr lvl="1"/>
            <a:r>
              <a:rPr lang="en-US" altLang="en-US" noProof="0"/>
              <a:t>Second level</a:t>
            </a:r>
          </a:p>
          <a:p>
            <a:pPr lvl="2"/>
            <a:r>
              <a:rPr lang="en-US" altLang="en-US" noProof="0"/>
              <a:t>Third level</a:t>
            </a:r>
          </a:p>
          <a:p>
            <a:pPr lvl="3"/>
            <a:r>
              <a:rPr lang="en-US" altLang="en-US" noProof="0"/>
              <a:t>Fourth level</a:t>
            </a:r>
          </a:p>
          <a:p>
            <a:pPr lvl="4"/>
            <a:r>
              <a:rPr lang="en-US" altLang="en-US" noProof="0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A993C77-CBED-4B2B-A114-59C4D8D6CE97}"/>
              </a:ext>
            </a:extLst>
          </p:cNvPr>
          <p:cNvCxnSpPr>
            <a:cxnSpLocks/>
          </p:cNvCxnSpPr>
          <p:nvPr userDrawn="1"/>
        </p:nvCxnSpPr>
        <p:spPr>
          <a:xfrm>
            <a:off x="220831" y="6422971"/>
            <a:ext cx="11703996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1B86A34-E450-424B-A07C-89D1870D3D25}"/>
              </a:ext>
            </a:extLst>
          </p:cNvPr>
          <p:cNvCxnSpPr/>
          <p:nvPr userDrawn="1"/>
        </p:nvCxnSpPr>
        <p:spPr>
          <a:xfrm>
            <a:off x="217667" y="882193"/>
            <a:ext cx="11736308" cy="0"/>
          </a:xfrm>
          <a:prstGeom prst="line">
            <a:avLst/>
          </a:prstGeom>
          <a:ln w="9525">
            <a:solidFill>
              <a:srgbClr val="0032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591091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EAR_COLOUR_BG2">
    <p:bg>
      <p:bgPr>
        <a:solidFill>
          <a:srgbClr val="76C8A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186F7C5-F478-42B2-9116-082491A25A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3720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2" imgH="595" progId="TCLayout.ActiveDocument.1">
                  <p:embed/>
                </p:oleObj>
              </mc:Choice>
              <mc:Fallback>
                <p:oleObj name="Diapositive think-cell" r:id="rId3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186F7C5-F478-42B2-9116-082491A25A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EC7C0E3E-0D11-4538-8949-D8211CDC6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algn="l" rtl="0"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8770F7F7-54D2-419E-ACE8-1E203802996C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8263" y="882000"/>
            <a:ext cx="11732718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rtl="0">
              <a:defRPr sz="1795">
                <a:solidFill>
                  <a:srgbClr val="006762"/>
                </a:solidFill>
              </a:defRPr>
            </a:lvl1pPr>
            <a:lvl2pPr rtl="0">
              <a:defRPr sz="1795">
                <a:solidFill>
                  <a:srgbClr val="006762"/>
                </a:solidFill>
              </a:defRPr>
            </a:lvl2pPr>
            <a:lvl3pPr rtl="0">
              <a:defRPr sz="1795">
                <a:solidFill>
                  <a:srgbClr val="006762"/>
                </a:solidFill>
              </a:defRPr>
            </a:lvl3pPr>
            <a:lvl4pPr rtl="0">
              <a:defRPr sz="1795">
                <a:solidFill>
                  <a:srgbClr val="006762"/>
                </a:solidFill>
              </a:defRPr>
            </a:lvl4pPr>
            <a:lvl5pPr rtl="0">
              <a:defRPr sz="1795">
                <a:solidFill>
                  <a:srgbClr val="006762"/>
                </a:solidFill>
              </a:defRPr>
            </a:lvl5pPr>
          </a:lstStyle>
          <a:p>
            <a:pPr lvl="0"/>
            <a:r>
              <a:rPr lang="en-US" altLang="en-US" noProof="0"/>
              <a:t>Click to edit Master text styles</a:t>
            </a:r>
          </a:p>
          <a:p>
            <a:pPr lvl="1"/>
            <a:r>
              <a:rPr lang="en-US" altLang="en-US" noProof="0"/>
              <a:t>Second level</a:t>
            </a:r>
          </a:p>
          <a:p>
            <a:pPr lvl="2"/>
            <a:r>
              <a:rPr lang="en-US" altLang="en-US" noProof="0"/>
              <a:t>Third level</a:t>
            </a:r>
          </a:p>
          <a:p>
            <a:pPr lvl="3"/>
            <a:r>
              <a:rPr lang="en-US" altLang="en-US" noProof="0"/>
              <a:t>Fourth level</a:t>
            </a:r>
          </a:p>
          <a:p>
            <a:pPr lvl="4"/>
            <a:r>
              <a:rPr lang="en-US" altLang="en-US" noProof="0"/>
              <a:t>Fifth leve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CE16786-8A3C-4C82-B63C-69D03B24564C}"/>
              </a:ext>
            </a:extLst>
          </p:cNvPr>
          <p:cNvCxnSpPr>
            <a:cxnSpLocks/>
          </p:cNvCxnSpPr>
          <p:nvPr userDrawn="1"/>
        </p:nvCxnSpPr>
        <p:spPr>
          <a:xfrm>
            <a:off x="220831" y="6422971"/>
            <a:ext cx="11703996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128B05E-06E9-4FF8-9E34-30F8C9AD5155}"/>
              </a:ext>
            </a:extLst>
          </p:cNvPr>
          <p:cNvCxnSpPr/>
          <p:nvPr userDrawn="1"/>
        </p:nvCxnSpPr>
        <p:spPr>
          <a:xfrm>
            <a:off x="217667" y="882193"/>
            <a:ext cx="11736308" cy="0"/>
          </a:xfrm>
          <a:prstGeom prst="line">
            <a:avLst/>
          </a:prstGeom>
          <a:ln w="9525">
            <a:solidFill>
              <a:srgbClr val="0032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487408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_COLOUR_BG3">
    <p:bg>
      <p:bgPr>
        <a:solidFill>
          <a:srgbClr val="F166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A30560-8C53-4FE2-944B-DC620EF4E5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3356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2" imgH="595" progId="TCLayout.ActiveDocument.1">
                  <p:embed/>
                </p:oleObj>
              </mc:Choice>
              <mc:Fallback>
                <p:oleObj name="Diapositive think-cell" r:id="rId3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A30560-8C53-4FE2-944B-DC620EF4E5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EC7C0E3E-0D11-4538-8949-D8211CDC6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algn="l" rtl="0"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424FBA6A-9B37-4307-AF0B-2FB195B99602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8263" y="882000"/>
            <a:ext cx="11732718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rtl="0">
              <a:defRPr sz="1795">
                <a:solidFill>
                  <a:srgbClr val="960136"/>
                </a:solidFill>
              </a:defRPr>
            </a:lvl1pPr>
            <a:lvl2pPr rtl="0">
              <a:defRPr sz="1795">
                <a:solidFill>
                  <a:srgbClr val="960136"/>
                </a:solidFill>
              </a:defRPr>
            </a:lvl2pPr>
            <a:lvl3pPr rtl="0">
              <a:defRPr sz="1795">
                <a:solidFill>
                  <a:srgbClr val="960136"/>
                </a:solidFill>
              </a:defRPr>
            </a:lvl3pPr>
            <a:lvl4pPr rtl="0">
              <a:defRPr sz="1795">
                <a:solidFill>
                  <a:srgbClr val="960136"/>
                </a:solidFill>
              </a:defRPr>
            </a:lvl4pPr>
            <a:lvl5pPr rtl="0">
              <a:defRPr sz="1795">
                <a:solidFill>
                  <a:srgbClr val="960136"/>
                </a:solidFill>
              </a:defRPr>
            </a:lvl5pPr>
          </a:lstStyle>
          <a:p>
            <a:pPr lvl="0"/>
            <a:r>
              <a:rPr lang="en-US" altLang="en-US" noProof="0"/>
              <a:t>Click to edit Master text styles</a:t>
            </a:r>
          </a:p>
          <a:p>
            <a:pPr lvl="1"/>
            <a:r>
              <a:rPr lang="en-US" altLang="en-US" noProof="0"/>
              <a:t>Second level</a:t>
            </a:r>
          </a:p>
          <a:p>
            <a:pPr lvl="2"/>
            <a:r>
              <a:rPr lang="en-US" altLang="en-US" noProof="0"/>
              <a:t>Third level</a:t>
            </a:r>
          </a:p>
          <a:p>
            <a:pPr lvl="3"/>
            <a:r>
              <a:rPr lang="en-US" altLang="en-US" noProof="0"/>
              <a:t>Fourth level</a:t>
            </a:r>
          </a:p>
          <a:p>
            <a:pPr lvl="4"/>
            <a:r>
              <a:rPr lang="en-US" altLang="en-US" noProof="0"/>
              <a:t>Fifth leve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8935B88-E3A5-4B18-A1DA-E525414B3B33}"/>
              </a:ext>
            </a:extLst>
          </p:cNvPr>
          <p:cNvCxnSpPr>
            <a:cxnSpLocks/>
          </p:cNvCxnSpPr>
          <p:nvPr userDrawn="1"/>
        </p:nvCxnSpPr>
        <p:spPr>
          <a:xfrm>
            <a:off x="220831" y="6422971"/>
            <a:ext cx="11703996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9DC6253-9DAC-40B0-A41B-C4BC48EE2683}"/>
              </a:ext>
            </a:extLst>
          </p:cNvPr>
          <p:cNvCxnSpPr/>
          <p:nvPr userDrawn="1"/>
        </p:nvCxnSpPr>
        <p:spPr>
          <a:xfrm>
            <a:off x="217667" y="882193"/>
            <a:ext cx="11736308" cy="0"/>
          </a:xfrm>
          <a:prstGeom prst="line">
            <a:avLst/>
          </a:prstGeom>
          <a:ln w="9525">
            <a:solidFill>
              <a:srgbClr val="0032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063340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_COLOUR_BG4">
    <p:bg>
      <p:bgPr>
        <a:solidFill>
          <a:srgbClr val="FFCC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9D4E0DD-350A-4AC0-84A8-A5F4EE0B20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9940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2" imgH="595" progId="TCLayout.ActiveDocument.1">
                  <p:embed/>
                </p:oleObj>
              </mc:Choice>
              <mc:Fallback>
                <p:oleObj name="Diapositive think-cell" r:id="rId3" imgW="592" imgH="59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9D4E0DD-350A-4AC0-84A8-A5F4EE0B20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1BAD5E32-67F7-433E-80AC-7E81CA1D6C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algn="l" rtl="0"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B7504A-25CB-4BBC-AA4B-1A27FA922557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8263" y="882192"/>
            <a:ext cx="11732718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rtl="0">
              <a:defRPr sz="1795">
                <a:solidFill>
                  <a:srgbClr val="A75534"/>
                </a:solidFill>
              </a:defRPr>
            </a:lvl1pPr>
            <a:lvl2pPr rtl="0">
              <a:defRPr sz="1795">
                <a:solidFill>
                  <a:srgbClr val="A75534"/>
                </a:solidFill>
              </a:defRPr>
            </a:lvl2pPr>
            <a:lvl3pPr rtl="0">
              <a:defRPr sz="1795">
                <a:solidFill>
                  <a:srgbClr val="A75534"/>
                </a:solidFill>
              </a:defRPr>
            </a:lvl3pPr>
            <a:lvl4pPr rtl="0">
              <a:defRPr sz="1795">
                <a:solidFill>
                  <a:srgbClr val="A75534"/>
                </a:solidFill>
              </a:defRPr>
            </a:lvl4pPr>
            <a:lvl5pPr rtl="0">
              <a:defRPr sz="1795">
                <a:solidFill>
                  <a:srgbClr val="A75534"/>
                </a:solidFill>
              </a:defRPr>
            </a:lvl5pPr>
          </a:lstStyle>
          <a:p>
            <a:pPr lvl="0"/>
            <a:r>
              <a:rPr lang="en-US" altLang="en-US" noProof="0"/>
              <a:t>Click to edit Master text styles</a:t>
            </a:r>
          </a:p>
          <a:p>
            <a:pPr lvl="1"/>
            <a:r>
              <a:rPr lang="en-US" altLang="en-US" noProof="0"/>
              <a:t>Second level</a:t>
            </a:r>
          </a:p>
          <a:p>
            <a:pPr lvl="2"/>
            <a:r>
              <a:rPr lang="en-US" altLang="en-US" noProof="0"/>
              <a:t>Third level</a:t>
            </a:r>
          </a:p>
          <a:p>
            <a:pPr lvl="3"/>
            <a:r>
              <a:rPr lang="en-US" altLang="en-US" noProof="0"/>
              <a:t>Fourth level</a:t>
            </a:r>
          </a:p>
          <a:p>
            <a:pPr lvl="4"/>
            <a:r>
              <a:rPr lang="en-US" altLang="en-US" noProof="0"/>
              <a:t>Fifth level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3C96752-03D4-47C1-AF65-AB9BE9940335}"/>
              </a:ext>
            </a:extLst>
          </p:cNvPr>
          <p:cNvCxnSpPr>
            <a:cxnSpLocks/>
          </p:cNvCxnSpPr>
          <p:nvPr userDrawn="1"/>
        </p:nvCxnSpPr>
        <p:spPr>
          <a:xfrm>
            <a:off x="220831" y="6422971"/>
            <a:ext cx="11703996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99C38FE-3D95-4F29-9E13-19A29AD5EFC2}"/>
              </a:ext>
            </a:extLst>
          </p:cNvPr>
          <p:cNvCxnSpPr/>
          <p:nvPr userDrawn="1"/>
        </p:nvCxnSpPr>
        <p:spPr>
          <a:xfrm>
            <a:off x="217667" y="882193"/>
            <a:ext cx="11736308" cy="0"/>
          </a:xfrm>
          <a:prstGeom prst="line">
            <a:avLst/>
          </a:prstGeom>
          <a:ln w="9525">
            <a:solidFill>
              <a:srgbClr val="0032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32832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RK1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" name="Picture 65">
            <a:extLst>
              <a:ext uri="{FF2B5EF4-FFF2-40B4-BE49-F238E27FC236}">
                <a16:creationId xmlns:a16="http://schemas.microsoft.com/office/drawing/2014/main" id="{67F11124-82EC-4269-B097-AA13626176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99" y="0"/>
            <a:ext cx="12158753" cy="6858000"/>
          </a:xfrm>
          <a:prstGeom prst="rect">
            <a:avLst/>
          </a:prstGeom>
        </p:spPr>
      </p:pic>
      <p:sp>
        <p:nvSpPr>
          <p:cNvPr id="34" name="Rectangle 38">
            <a:extLst>
              <a:ext uri="{FF2B5EF4-FFF2-40B4-BE49-F238E27FC236}">
                <a16:creationId xmlns:a16="http://schemas.microsoft.com/office/drawing/2014/main" id="{9C759BF4-95BD-4497-8F73-35566BC9CAF7}"/>
              </a:ext>
            </a:extLst>
          </p:cNvPr>
          <p:cNvSpPr/>
          <p:nvPr userDrawn="1"/>
        </p:nvSpPr>
        <p:spPr>
          <a:xfrm>
            <a:off x="-1" y="0"/>
            <a:ext cx="12192261" cy="6858000"/>
          </a:xfrm>
          <a:prstGeom prst="rect">
            <a:avLst/>
          </a:prstGeom>
          <a:solidFill>
            <a:srgbClr val="003249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795" noProof="0" dirty="0">
              <a:solidFill>
                <a:schemeClr val="lt1">
                  <a:alpha val="60000"/>
                </a:schemeClr>
              </a:solidFill>
            </a:endParaRPr>
          </a:p>
        </p:txBody>
      </p:sp>
      <p:grpSp>
        <p:nvGrpSpPr>
          <p:cNvPr id="4" name="Group 35" hidden="1">
            <a:extLst>
              <a:ext uri="{FF2B5EF4-FFF2-40B4-BE49-F238E27FC236}">
                <a16:creationId xmlns:a16="http://schemas.microsoft.com/office/drawing/2014/main" id="{F49FFC1C-3741-4844-8C3F-E4F557524424}"/>
              </a:ext>
            </a:extLst>
          </p:cNvPr>
          <p:cNvGrpSpPr/>
          <p:nvPr userDrawn="1"/>
        </p:nvGrpSpPr>
        <p:grpSpPr>
          <a:xfrm>
            <a:off x="-6565" y="-3"/>
            <a:ext cx="12269310" cy="6858003"/>
            <a:chOff x="-6566" y="-2"/>
            <a:chExt cx="12269309" cy="6858002"/>
          </a:xfrm>
        </p:grpSpPr>
        <p:sp>
          <p:nvSpPr>
            <p:cNvPr id="5" name="Rectangle 36">
              <a:extLst>
                <a:ext uri="{FF2B5EF4-FFF2-40B4-BE49-F238E27FC236}">
                  <a16:creationId xmlns:a16="http://schemas.microsoft.com/office/drawing/2014/main" id="{0BD74276-8ED2-4824-9998-0BAA3955CD95}"/>
                </a:ext>
              </a:extLst>
            </p:cNvPr>
            <p:cNvSpPr/>
            <p:nvPr userDrawn="1"/>
          </p:nvSpPr>
          <p:spPr>
            <a:xfrm>
              <a:off x="-6566" y="-2"/>
              <a:ext cx="12198565" cy="6858002"/>
            </a:xfrm>
            <a:prstGeom prst="rect">
              <a:avLst/>
            </a:prstGeom>
            <a:solidFill>
              <a:srgbClr val="0032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98" dirty="0"/>
            </a:p>
          </p:txBody>
        </p:sp>
        <p:grpSp>
          <p:nvGrpSpPr>
            <p:cNvPr id="6" name="Group 37">
              <a:extLst>
                <a:ext uri="{FF2B5EF4-FFF2-40B4-BE49-F238E27FC236}">
                  <a16:creationId xmlns:a16="http://schemas.microsoft.com/office/drawing/2014/main" id="{978F2107-068F-4327-9136-6EB3073A4403}"/>
                </a:ext>
              </a:extLst>
            </p:cNvPr>
            <p:cNvGrpSpPr/>
            <p:nvPr userDrawn="1"/>
          </p:nvGrpSpPr>
          <p:grpSpPr>
            <a:xfrm>
              <a:off x="442260" y="3456849"/>
              <a:ext cx="11820483" cy="2970388"/>
              <a:chOff x="442260" y="3600153"/>
              <a:chExt cx="11820483" cy="2970388"/>
            </a:xfrm>
          </p:grpSpPr>
          <p:cxnSp>
            <p:nvCxnSpPr>
              <p:cNvPr id="7" name="Straight Connector 38">
                <a:extLst>
                  <a:ext uri="{FF2B5EF4-FFF2-40B4-BE49-F238E27FC236}">
                    <a16:creationId xmlns:a16="http://schemas.microsoft.com/office/drawing/2014/main" id="{B5909EFF-FFE7-4DCA-BB35-2930538F8575}"/>
                  </a:ext>
                </a:extLst>
              </p:cNvPr>
              <p:cNvCxnSpPr/>
              <p:nvPr userDrawn="1"/>
            </p:nvCxnSpPr>
            <p:spPr>
              <a:xfrm flipV="1">
                <a:off x="930228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" name="Straight Connector 39">
                <a:extLst>
                  <a:ext uri="{FF2B5EF4-FFF2-40B4-BE49-F238E27FC236}">
                    <a16:creationId xmlns:a16="http://schemas.microsoft.com/office/drawing/2014/main" id="{BBF66BD5-8EBB-4321-AEA7-778A769BCD0F}"/>
                  </a:ext>
                </a:extLst>
              </p:cNvPr>
              <p:cNvCxnSpPr/>
              <p:nvPr userDrawn="1"/>
            </p:nvCxnSpPr>
            <p:spPr>
              <a:xfrm flipV="1">
                <a:off x="877305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40">
                <a:extLst>
                  <a:ext uri="{FF2B5EF4-FFF2-40B4-BE49-F238E27FC236}">
                    <a16:creationId xmlns:a16="http://schemas.microsoft.com/office/drawing/2014/main" id="{B6105F55-6F73-4EAC-A6FE-341C1EDD082D}"/>
                  </a:ext>
                </a:extLst>
              </p:cNvPr>
              <p:cNvCxnSpPr/>
              <p:nvPr userDrawn="1"/>
            </p:nvCxnSpPr>
            <p:spPr>
              <a:xfrm flipV="1">
                <a:off x="8235524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41">
                <a:extLst>
                  <a:ext uri="{FF2B5EF4-FFF2-40B4-BE49-F238E27FC236}">
                    <a16:creationId xmlns:a16="http://schemas.microsoft.com/office/drawing/2014/main" id="{231C4A1D-0D18-4C45-8CD2-9B482D211697}"/>
                  </a:ext>
                </a:extLst>
              </p:cNvPr>
              <p:cNvCxnSpPr/>
              <p:nvPr userDrawn="1"/>
            </p:nvCxnSpPr>
            <p:spPr>
              <a:xfrm flipV="1">
                <a:off x="78660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42">
                <a:extLst>
                  <a:ext uri="{FF2B5EF4-FFF2-40B4-BE49-F238E27FC236}">
                    <a16:creationId xmlns:a16="http://schemas.microsoft.com/office/drawing/2014/main" id="{887B699A-26D9-4993-847C-C919922EE7EC}"/>
                  </a:ext>
                </a:extLst>
              </p:cNvPr>
              <p:cNvCxnSpPr/>
              <p:nvPr userDrawn="1"/>
            </p:nvCxnSpPr>
            <p:spPr>
              <a:xfrm flipV="1">
                <a:off x="7498863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43">
                <a:extLst>
                  <a:ext uri="{FF2B5EF4-FFF2-40B4-BE49-F238E27FC236}">
                    <a16:creationId xmlns:a16="http://schemas.microsoft.com/office/drawing/2014/main" id="{2861B340-F5C1-4BA1-BA98-8D650473066B}"/>
                  </a:ext>
                </a:extLst>
              </p:cNvPr>
              <p:cNvCxnSpPr/>
              <p:nvPr userDrawn="1"/>
            </p:nvCxnSpPr>
            <p:spPr>
              <a:xfrm flipV="1">
                <a:off x="7127208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44">
                <a:extLst>
                  <a:ext uri="{FF2B5EF4-FFF2-40B4-BE49-F238E27FC236}">
                    <a16:creationId xmlns:a16="http://schemas.microsoft.com/office/drawing/2014/main" id="{C3568F9F-131F-4452-A304-F5E5399BCD8C}"/>
                  </a:ext>
                </a:extLst>
              </p:cNvPr>
              <p:cNvCxnSpPr/>
              <p:nvPr userDrawn="1"/>
            </p:nvCxnSpPr>
            <p:spPr>
              <a:xfrm flipV="1">
                <a:off x="675865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45">
                <a:extLst>
                  <a:ext uri="{FF2B5EF4-FFF2-40B4-BE49-F238E27FC236}">
                    <a16:creationId xmlns:a16="http://schemas.microsoft.com/office/drawing/2014/main" id="{CF836D01-B716-45B7-86B0-7412F0310BC3}"/>
                  </a:ext>
                </a:extLst>
              </p:cNvPr>
              <p:cNvCxnSpPr/>
              <p:nvPr userDrawn="1"/>
            </p:nvCxnSpPr>
            <p:spPr>
              <a:xfrm flipV="1">
                <a:off x="638946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46">
                <a:extLst>
                  <a:ext uri="{FF2B5EF4-FFF2-40B4-BE49-F238E27FC236}">
                    <a16:creationId xmlns:a16="http://schemas.microsoft.com/office/drawing/2014/main" id="{456D7560-3022-407D-A56A-387D1CF7CBBE}"/>
                  </a:ext>
                </a:extLst>
              </p:cNvPr>
              <p:cNvCxnSpPr/>
              <p:nvPr userDrawn="1"/>
            </p:nvCxnSpPr>
            <p:spPr>
              <a:xfrm flipV="1">
                <a:off x="6009868" y="3607282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47">
                <a:extLst>
                  <a:ext uri="{FF2B5EF4-FFF2-40B4-BE49-F238E27FC236}">
                    <a16:creationId xmlns:a16="http://schemas.microsoft.com/office/drawing/2014/main" id="{C7A0A529-063D-45DD-8385-C74DBDC59E7E}"/>
                  </a:ext>
                </a:extLst>
              </p:cNvPr>
              <p:cNvCxnSpPr/>
              <p:nvPr userDrawn="1"/>
            </p:nvCxnSpPr>
            <p:spPr>
              <a:xfrm flipV="1">
                <a:off x="56439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48">
                <a:extLst>
                  <a:ext uri="{FF2B5EF4-FFF2-40B4-BE49-F238E27FC236}">
                    <a16:creationId xmlns:a16="http://schemas.microsoft.com/office/drawing/2014/main" id="{A931E34D-B55F-40AD-83AF-7163B7D714F7}"/>
                  </a:ext>
                </a:extLst>
              </p:cNvPr>
              <p:cNvCxnSpPr/>
              <p:nvPr userDrawn="1"/>
            </p:nvCxnSpPr>
            <p:spPr>
              <a:xfrm flipV="1">
                <a:off x="526926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49">
                <a:extLst>
                  <a:ext uri="{FF2B5EF4-FFF2-40B4-BE49-F238E27FC236}">
                    <a16:creationId xmlns:a16="http://schemas.microsoft.com/office/drawing/2014/main" id="{85C0AB43-36CD-4E1C-BBD6-F6E40C7E2D07}"/>
                  </a:ext>
                </a:extLst>
              </p:cNvPr>
              <p:cNvCxnSpPr/>
              <p:nvPr userDrawn="1"/>
            </p:nvCxnSpPr>
            <p:spPr>
              <a:xfrm flipV="1">
                <a:off x="48896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50">
                <a:extLst>
                  <a:ext uri="{FF2B5EF4-FFF2-40B4-BE49-F238E27FC236}">
                    <a16:creationId xmlns:a16="http://schemas.microsoft.com/office/drawing/2014/main" id="{78CD91FC-28C9-4AC7-87D2-3236ADA79432}"/>
                  </a:ext>
                </a:extLst>
              </p:cNvPr>
              <p:cNvCxnSpPr/>
              <p:nvPr userDrawn="1"/>
            </p:nvCxnSpPr>
            <p:spPr>
              <a:xfrm flipV="1">
                <a:off x="452332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51">
                <a:extLst>
                  <a:ext uri="{FF2B5EF4-FFF2-40B4-BE49-F238E27FC236}">
                    <a16:creationId xmlns:a16="http://schemas.microsoft.com/office/drawing/2014/main" id="{43CC5094-48A5-4786-A10E-9CE8FDA8F34F}"/>
                  </a:ext>
                </a:extLst>
              </p:cNvPr>
              <p:cNvCxnSpPr/>
              <p:nvPr userDrawn="1"/>
            </p:nvCxnSpPr>
            <p:spPr>
              <a:xfrm flipV="1">
                <a:off x="415592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52">
                <a:extLst>
                  <a:ext uri="{FF2B5EF4-FFF2-40B4-BE49-F238E27FC236}">
                    <a16:creationId xmlns:a16="http://schemas.microsoft.com/office/drawing/2014/main" id="{B1CF75A4-9F1F-48F6-AFDA-C7897F2C1B55}"/>
                  </a:ext>
                </a:extLst>
              </p:cNvPr>
              <p:cNvCxnSpPr/>
              <p:nvPr userDrawn="1"/>
            </p:nvCxnSpPr>
            <p:spPr>
              <a:xfrm flipV="1">
                <a:off x="3786582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53">
                <a:extLst>
                  <a:ext uri="{FF2B5EF4-FFF2-40B4-BE49-F238E27FC236}">
                    <a16:creationId xmlns:a16="http://schemas.microsoft.com/office/drawing/2014/main" id="{D8B3EC32-3BCC-4CF3-A8AB-D5695C387FB1}"/>
                  </a:ext>
                </a:extLst>
              </p:cNvPr>
              <p:cNvCxnSpPr/>
              <p:nvPr userDrawn="1"/>
            </p:nvCxnSpPr>
            <p:spPr>
              <a:xfrm flipV="1">
                <a:off x="342049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54">
                <a:extLst>
                  <a:ext uri="{FF2B5EF4-FFF2-40B4-BE49-F238E27FC236}">
                    <a16:creationId xmlns:a16="http://schemas.microsoft.com/office/drawing/2014/main" id="{646D2636-826F-4188-AECD-8E9F547C330E}"/>
                  </a:ext>
                </a:extLst>
              </p:cNvPr>
              <p:cNvCxnSpPr/>
              <p:nvPr userDrawn="1"/>
            </p:nvCxnSpPr>
            <p:spPr>
              <a:xfrm flipV="1">
                <a:off x="305109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55">
                <a:extLst>
                  <a:ext uri="{FF2B5EF4-FFF2-40B4-BE49-F238E27FC236}">
                    <a16:creationId xmlns:a16="http://schemas.microsoft.com/office/drawing/2014/main" id="{D5190618-4665-4F2E-8844-020AD30239F6}"/>
                  </a:ext>
                </a:extLst>
              </p:cNvPr>
              <p:cNvCxnSpPr/>
              <p:nvPr userDrawn="1"/>
            </p:nvCxnSpPr>
            <p:spPr>
              <a:xfrm flipV="1">
                <a:off x="267428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56">
                <a:extLst>
                  <a:ext uri="{FF2B5EF4-FFF2-40B4-BE49-F238E27FC236}">
                    <a16:creationId xmlns:a16="http://schemas.microsoft.com/office/drawing/2014/main" id="{E501E497-7672-440E-967B-911C1D6B4B10}"/>
                  </a:ext>
                </a:extLst>
              </p:cNvPr>
              <p:cNvCxnSpPr/>
              <p:nvPr userDrawn="1"/>
            </p:nvCxnSpPr>
            <p:spPr>
              <a:xfrm flipV="1">
                <a:off x="23085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57">
                <a:extLst>
                  <a:ext uri="{FF2B5EF4-FFF2-40B4-BE49-F238E27FC236}">
                    <a16:creationId xmlns:a16="http://schemas.microsoft.com/office/drawing/2014/main" id="{8A688C29-83E0-4CC9-A8C5-B6B30A57710C}"/>
                  </a:ext>
                </a:extLst>
              </p:cNvPr>
              <p:cNvCxnSpPr/>
              <p:nvPr userDrawn="1"/>
            </p:nvCxnSpPr>
            <p:spPr>
              <a:xfrm flipV="1">
                <a:off x="193107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58">
                <a:extLst>
                  <a:ext uri="{FF2B5EF4-FFF2-40B4-BE49-F238E27FC236}">
                    <a16:creationId xmlns:a16="http://schemas.microsoft.com/office/drawing/2014/main" id="{8D3348AE-2C08-472A-92E4-12BF79B738D1}"/>
                  </a:ext>
                </a:extLst>
              </p:cNvPr>
              <p:cNvCxnSpPr/>
              <p:nvPr userDrawn="1"/>
            </p:nvCxnSpPr>
            <p:spPr>
              <a:xfrm flipV="1">
                <a:off x="155844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59">
                <a:extLst>
                  <a:ext uri="{FF2B5EF4-FFF2-40B4-BE49-F238E27FC236}">
                    <a16:creationId xmlns:a16="http://schemas.microsoft.com/office/drawing/2014/main" id="{D93531AE-9D57-49CA-BC46-F7384685F786}"/>
                  </a:ext>
                </a:extLst>
              </p:cNvPr>
              <p:cNvCxnSpPr/>
              <p:nvPr userDrawn="1"/>
            </p:nvCxnSpPr>
            <p:spPr>
              <a:xfrm flipV="1">
                <a:off x="11883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60">
                <a:extLst>
                  <a:ext uri="{FF2B5EF4-FFF2-40B4-BE49-F238E27FC236}">
                    <a16:creationId xmlns:a16="http://schemas.microsoft.com/office/drawing/2014/main" id="{6130565B-76F2-434C-8896-54E337D6B462}"/>
                  </a:ext>
                </a:extLst>
              </p:cNvPr>
              <p:cNvCxnSpPr/>
              <p:nvPr userDrawn="1"/>
            </p:nvCxnSpPr>
            <p:spPr>
              <a:xfrm flipV="1">
                <a:off x="81408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61">
                <a:extLst>
                  <a:ext uri="{FF2B5EF4-FFF2-40B4-BE49-F238E27FC236}">
                    <a16:creationId xmlns:a16="http://schemas.microsoft.com/office/drawing/2014/main" id="{A0D45B84-40CC-46CF-ACE4-C3A1732817B3}"/>
                  </a:ext>
                </a:extLst>
              </p:cNvPr>
              <p:cNvCxnSpPr/>
              <p:nvPr userDrawn="1"/>
            </p:nvCxnSpPr>
            <p:spPr>
              <a:xfrm flipV="1">
                <a:off x="4422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5410" y="154800"/>
            <a:ext cx="10611078" cy="565200"/>
          </a:xfrm>
        </p:spPr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009754-3A1E-461E-B289-FE7FC85C2E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001" y="1043622"/>
            <a:ext cx="11732718" cy="5407996"/>
          </a:xfrm>
        </p:spPr>
        <p:txBody>
          <a:bodyPr>
            <a:normAutofit/>
          </a:bodyPr>
          <a:lstStyle>
            <a:lvl1pPr marL="223234" indent="-223234">
              <a:lnSpc>
                <a:spcPct val="100000"/>
              </a:lnSpc>
              <a:spcBef>
                <a:spcPts val="1197"/>
              </a:spcBef>
              <a:buClr>
                <a:schemeClr val="accent1"/>
              </a:buClr>
              <a:buFont typeface="Wingdings" pitchFamily="2" charset="2"/>
              <a:buChar char="§"/>
              <a:tabLst/>
              <a:defRPr sz="2792">
                <a:solidFill>
                  <a:schemeClr val="bg1"/>
                </a:solidFill>
              </a:defRPr>
            </a:lvl1pPr>
            <a:lvl2pPr marL="316643" indent="-161488">
              <a:buFont typeface="Wingdings" pitchFamily="2" charset="2"/>
              <a:buChar char="§"/>
              <a:tabLst/>
              <a:defRPr sz="1995">
                <a:solidFill>
                  <a:schemeClr val="accent5">
                    <a:lumMod val="20000"/>
                    <a:lumOff val="80000"/>
                  </a:schemeClr>
                </a:solidFill>
              </a:defRPr>
            </a:lvl2pPr>
            <a:lvl3pPr marL="584206" indent="-172571">
              <a:buFont typeface="Wingdings" pitchFamily="2" charset="2"/>
              <a:buChar char="§"/>
              <a:tabLst/>
              <a:defRPr sz="1995">
                <a:solidFill>
                  <a:schemeClr val="accent5">
                    <a:lumMod val="20000"/>
                    <a:lumOff val="80000"/>
                  </a:schemeClr>
                </a:solidFill>
              </a:defRPr>
            </a:lvl3pPr>
            <a:lvl4pPr marL="1671874" indent="-341974">
              <a:buFont typeface="Wingdings" pitchFamily="2" charset="2"/>
              <a:buChar char="§"/>
              <a:tabLst/>
              <a:defRPr sz="1995">
                <a:solidFill>
                  <a:schemeClr val="accent5">
                    <a:lumMod val="20000"/>
                    <a:lumOff val="80000"/>
                  </a:schemeClr>
                </a:solidFill>
              </a:defRPr>
            </a:lvl4pPr>
            <a:lvl5pPr marL="1937854" indent="-341974">
              <a:buFont typeface="Wingdings" pitchFamily="2" charset="2"/>
              <a:buChar char="§"/>
              <a:tabLst/>
              <a:defRPr sz="1995">
                <a:solidFill>
                  <a:schemeClr val="accent5">
                    <a:lumMod val="20000"/>
                    <a:lumOff val="80000"/>
                  </a:schemeClr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pic>
        <p:nvPicPr>
          <p:cNvPr id="93" name="Picture 58">
            <a:extLst>
              <a:ext uri="{FF2B5EF4-FFF2-40B4-BE49-F238E27FC236}">
                <a16:creationId xmlns:a16="http://schemas.microsoft.com/office/drawing/2014/main" id="{FACF339E-D219-4088-BAC1-2C9C82F8139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03315" y="-216085"/>
            <a:ext cx="2088182" cy="1314000"/>
          </a:xfrm>
          <a:prstGeom prst="rect">
            <a:avLst/>
          </a:prstGeom>
        </p:spPr>
      </p:pic>
      <p:sp>
        <p:nvSpPr>
          <p:cNvPr id="31" name="Text Box 38">
            <a:extLst>
              <a:ext uri="{FF2B5EF4-FFF2-40B4-BE49-F238E27FC236}">
                <a16:creationId xmlns:a16="http://schemas.microsoft.com/office/drawing/2014/main" id="{877F5B03-CBC3-47CB-9BB2-474A78C4A2D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183562" y="6201716"/>
            <a:ext cx="374126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>
              <a:spcBef>
                <a:spcPct val="50000"/>
              </a:spcBef>
            </a:pPr>
            <a:fld id="{BBA2E11D-44E1-43DD-A173-928128880055}" type="slidenum">
              <a:rPr lang="en-GB" sz="798" noProof="1" smtClean="0">
                <a:solidFill>
                  <a:srgbClr val="8197A6"/>
                </a:solidFill>
                <a:latin typeface="Arial" charset="0"/>
                <a:ea typeface="Arial" charset="0"/>
                <a:cs typeface="Arial" charset="0"/>
              </a:rPr>
              <a:pPr lvl="2" algn="r">
                <a:spcBef>
                  <a:spcPct val="50000"/>
                </a:spcBef>
              </a:pPr>
              <a:t>‹#›</a:t>
            </a:fld>
            <a:endParaRPr lang="en-GB" sz="798" b="0" i="0" noProof="0" dirty="0">
              <a:solidFill>
                <a:srgbClr val="8197A6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9EE444F-6605-400F-BF7E-C6FB5D4308CE}"/>
              </a:ext>
            </a:extLst>
          </p:cNvPr>
          <p:cNvCxnSpPr>
            <a:cxnSpLocks/>
          </p:cNvCxnSpPr>
          <p:nvPr userDrawn="1"/>
        </p:nvCxnSpPr>
        <p:spPr>
          <a:xfrm>
            <a:off x="220831" y="6422971"/>
            <a:ext cx="11703996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D20DA465-76C5-4858-B030-FBB9CA538CD7}"/>
              </a:ext>
            </a:extLst>
          </p:cNvPr>
          <p:cNvCxnSpPr/>
          <p:nvPr userDrawn="1"/>
        </p:nvCxnSpPr>
        <p:spPr>
          <a:xfrm>
            <a:off x="217667" y="882193"/>
            <a:ext cx="11736308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9" name="Picture 5">
            <a:extLst>
              <a:ext uri="{FF2B5EF4-FFF2-40B4-BE49-F238E27FC236}">
                <a16:creationId xmlns:a16="http://schemas.microsoft.com/office/drawing/2014/main" id="{F46AEE21-774A-4AB5-ADC4-A6979F397CFE}"/>
              </a:ext>
            </a:extLst>
          </p:cNvPr>
          <p:cNvPicPr>
            <a:picLocks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14596" y="6584400"/>
            <a:ext cx="1633533" cy="104400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75" y="6452251"/>
            <a:ext cx="9929648" cy="405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604819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_COLOUR_BG5">
    <p:bg>
      <p:bgPr>
        <a:solidFill>
          <a:srgbClr val="6DCF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F818F9A-D6B6-4D41-A7C3-CEC926F7C6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0338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2" imgH="595" progId="TCLayout.ActiveDocument.1">
                  <p:embed/>
                </p:oleObj>
              </mc:Choice>
              <mc:Fallback>
                <p:oleObj name="Diapositive think-cell" r:id="rId3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F818F9A-D6B6-4D41-A7C3-CEC926F7C6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1BAD5E32-67F7-433E-80AC-7E81CA1D6C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algn="l" rtl="0"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BA34D9EA-0CED-4E85-B2F0-17341F16C1AB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8263" y="882192"/>
            <a:ext cx="11732718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rtl="0">
              <a:defRPr sz="1795">
                <a:solidFill>
                  <a:srgbClr val="1E3378"/>
                </a:solidFill>
              </a:defRPr>
            </a:lvl1pPr>
            <a:lvl2pPr rtl="0">
              <a:defRPr sz="1795">
                <a:solidFill>
                  <a:srgbClr val="1E3378"/>
                </a:solidFill>
              </a:defRPr>
            </a:lvl2pPr>
            <a:lvl3pPr rtl="0">
              <a:defRPr sz="1795">
                <a:solidFill>
                  <a:srgbClr val="1E3378"/>
                </a:solidFill>
              </a:defRPr>
            </a:lvl3pPr>
            <a:lvl4pPr rtl="0">
              <a:defRPr sz="1795">
                <a:solidFill>
                  <a:srgbClr val="1E3378"/>
                </a:solidFill>
              </a:defRPr>
            </a:lvl4pPr>
            <a:lvl5pPr rtl="0">
              <a:defRPr sz="1795">
                <a:solidFill>
                  <a:srgbClr val="1E3378"/>
                </a:solidFill>
              </a:defRPr>
            </a:lvl5pPr>
          </a:lstStyle>
          <a:p>
            <a:pPr lvl="0"/>
            <a:r>
              <a:rPr lang="en-US" altLang="en-US" noProof="0"/>
              <a:t>Click to edit Master text styles</a:t>
            </a:r>
          </a:p>
          <a:p>
            <a:pPr lvl="1"/>
            <a:r>
              <a:rPr lang="en-US" altLang="en-US" noProof="0"/>
              <a:t>Second level</a:t>
            </a:r>
          </a:p>
          <a:p>
            <a:pPr lvl="2"/>
            <a:r>
              <a:rPr lang="en-US" altLang="en-US" noProof="0"/>
              <a:t>Third level</a:t>
            </a:r>
          </a:p>
          <a:p>
            <a:pPr lvl="3"/>
            <a:r>
              <a:rPr lang="en-US" altLang="en-US" noProof="0"/>
              <a:t>Fourth level</a:t>
            </a:r>
          </a:p>
          <a:p>
            <a:pPr lvl="4"/>
            <a:r>
              <a:rPr lang="en-US" altLang="en-US" noProof="0"/>
              <a:t>Fifth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F711926-946D-4031-95C0-4DF8DCFCC3F0}"/>
              </a:ext>
            </a:extLst>
          </p:cNvPr>
          <p:cNvCxnSpPr>
            <a:cxnSpLocks/>
          </p:cNvCxnSpPr>
          <p:nvPr userDrawn="1"/>
        </p:nvCxnSpPr>
        <p:spPr>
          <a:xfrm>
            <a:off x="220831" y="6422971"/>
            <a:ext cx="11703996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03F0612-5267-4585-B281-9C491C4E1A35}"/>
              </a:ext>
            </a:extLst>
          </p:cNvPr>
          <p:cNvCxnSpPr/>
          <p:nvPr userDrawn="1"/>
        </p:nvCxnSpPr>
        <p:spPr>
          <a:xfrm>
            <a:off x="217667" y="882193"/>
            <a:ext cx="11736308" cy="0"/>
          </a:xfrm>
          <a:prstGeom prst="line">
            <a:avLst/>
          </a:prstGeom>
          <a:ln w="9525">
            <a:solidFill>
              <a:srgbClr val="0032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140782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LOSING1">
    <p:bg>
      <p:bgPr>
        <a:solidFill>
          <a:srgbClr val="6DCF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65B452B-96CD-4AB3-923A-24F8F430F8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28184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2" imgH="595" progId="TCLayout.ActiveDocument.1">
                  <p:embed/>
                </p:oleObj>
              </mc:Choice>
              <mc:Fallback>
                <p:oleObj name="Diapositive think-cell" r:id="rId3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65B452B-96CD-4AB3-923A-24F8F430F8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>
            <a:extLst>
              <a:ext uri="{FF2B5EF4-FFF2-40B4-BE49-F238E27FC236}">
                <a16:creationId xmlns:a16="http://schemas.microsoft.com/office/drawing/2014/main" id="{49F9D6BA-4369-4A77-B906-1DB3998CAEE6}"/>
              </a:ext>
            </a:extLst>
          </p:cNvPr>
          <p:cNvSpPr/>
          <p:nvPr userDrawn="1"/>
        </p:nvSpPr>
        <p:spPr>
          <a:xfrm>
            <a:off x="-368656" y="0"/>
            <a:ext cx="125606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795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1D3BEF3-BA94-4314-8B5C-E1B50DD15057}"/>
              </a:ext>
            </a:extLst>
          </p:cNvPr>
          <p:cNvSpPr/>
          <p:nvPr userDrawn="1"/>
        </p:nvSpPr>
        <p:spPr>
          <a:xfrm flipH="1">
            <a:off x="4686301" y="2011305"/>
            <a:ext cx="2819400" cy="2819035"/>
          </a:xfrm>
          <a:prstGeom prst="rect">
            <a:avLst/>
          </a:prstGeom>
          <a:solidFill>
            <a:schemeClr val="bg1"/>
          </a:solidFill>
          <a:ln w="9525">
            <a:solidFill>
              <a:srgbClr val="0032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269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9F16787-8A53-41D0-B7DB-805E3E72C17B}"/>
              </a:ext>
            </a:extLst>
          </p:cNvPr>
          <p:cNvSpPr txBox="1">
            <a:spLocks/>
          </p:cNvSpPr>
          <p:nvPr userDrawn="1"/>
        </p:nvSpPr>
        <p:spPr>
          <a:xfrm>
            <a:off x="4686301" y="4524208"/>
            <a:ext cx="2812780" cy="314495"/>
          </a:xfrm>
          <a:prstGeom prst="rect">
            <a:avLst/>
          </a:prstGeom>
        </p:spPr>
        <p:txBody>
          <a:bodyPr vert="horz" lIns="65971" tIns="32986" rIns="65971" bIns="32986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0"/>
            <a:endParaRPr lang="en-US" sz="1010">
              <a:solidFill>
                <a:srgbClr val="8197A6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7BEF393-6511-46BA-9E6C-1CDE034CBF68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4686301" y="2041527"/>
            <a:ext cx="2819402" cy="235902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 rtl="0">
              <a:buNone/>
              <a:defRPr sz="2134" b="0" baseline="0">
                <a:solidFill>
                  <a:srgbClr val="003249"/>
                </a:solidFill>
                <a:latin typeface="Arial" charset="0"/>
                <a:ea typeface="Arial" charset="0"/>
                <a:cs typeface="Arial" charset="0"/>
              </a:defRPr>
            </a:lvl1pPr>
            <a:lvl2pPr marL="329845" indent="0">
              <a:buNone/>
              <a:defRPr sz="1443" b="1"/>
            </a:lvl2pPr>
            <a:lvl3pPr marL="659691" indent="0">
              <a:buNone/>
              <a:defRPr sz="1298" b="1"/>
            </a:lvl3pPr>
            <a:lvl4pPr marL="989536" indent="0">
              <a:buNone/>
              <a:defRPr sz="1154" b="1"/>
            </a:lvl4pPr>
            <a:lvl5pPr marL="1319382" indent="0">
              <a:buNone/>
              <a:defRPr sz="1154" b="1"/>
            </a:lvl5pPr>
            <a:lvl6pPr marL="1649227" indent="0">
              <a:buNone/>
              <a:defRPr sz="1154" b="1"/>
            </a:lvl6pPr>
            <a:lvl7pPr marL="1979073" indent="0">
              <a:buNone/>
              <a:defRPr sz="1154" b="1"/>
            </a:lvl7pPr>
            <a:lvl8pPr marL="2308918" indent="0">
              <a:buNone/>
              <a:defRPr sz="1154" b="1"/>
            </a:lvl8pPr>
            <a:lvl9pPr marL="2638764" indent="0">
              <a:buNone/>
              <a:defRPr sz="1154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142739B0-932D-4E43-A871-586E86D63CDA}"/>
              </a:ext>
            </a:extLst>
          </p:cNvPr>
          <p:cNvSpPr txBox="1">
            <a:spLocks/>
          </p:cNvSpPr>
          <p:nvPr userDrawn="1"/>
        </p:nvSpPr>
        <p:spPr>
          <a:xfrm>
            <a:off x="4686301" y="1740025"/>
            <a:ext cx="2819402" cy="261521"/>
          </a:xfrm>
          <a:prstGeom prst="rect">
            <a:avLst/>
          </a:prstGeom>
        </p:spPr>
        <p:txBody>
          <a:bodyPr vert="horz" lIns="65971" tIns="32986" rIns="65971" bIns="32986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n-US" sz="794">
                <a:solidFill>
                  <a:srgbClr val="8197A6"/>
                </a:solidFill>
                <a:latin typeface="Arial" charset="0"/>
                <a:ea typeface="Arial" charset="0"/>
                <a:cs typeface="Arial" charset="0"/>
              </a:rPr>
              <a:t>Produced by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95EE1E9-8C9C-4791-ADEC-8A6CB2EB49B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686301" y="4406775"/>
            <a:ext cx="2819402" cy="4235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rtl="0">
              <a:buNone/>
              <a:defRPr sz="1496" b="0" baseline="0">
                <a:solidFill>
                  <a:srgbClr val="003249"/>
                </a:solidFill>
                <a:latin typeface="Arial" charset="0"/>
                <a:ea typeface="Arial" charset="0"/>
                <a:cs typeface="Arial" charset="0"/>
              </a:defRPr>
            </a:lvl1pPr>
            <a:lvl2pPr marL="329845" indent="0">
              <a:buNone/>
              <a:defRPr sz="1443" b="1"/>
            </a:lvl2pPr>
            <a:lvl3pPr marL="659691" indent="0">
              <a:buNone/>
              <a:defRPr sz="1298" b="1"/>
            </a:lvl3pPr>
            <a:lvl4pPr marL="989536" indent="0">
              <a:buNone/>
              <a:defRPr sz="1154" b="1"/>
            </a:lvl4pPr>
            <a:lvl5pPr marL="1319382" indent="0">
              <a:buNone/>
              <a:defRPr sz="1154" b="1"/>
            </a:lvl5pPr>
            <a:lvl6pPr marL="1649227" indent="0">
              <a:buNone/>
              <a:defRPr sz="1154" b="1"/>
            </a:lvl6pPr>
            <a:lvl7pPr marL="1979073" indent="0">
              <a:buNone/>
              <a:defRPr sz="1154" b="1"/>
            </a:lvl7pPr>
            <a:lvl8pPr marL="2308918" indent="0">
              <a:buNone/>
              <a:defRPr sz="1154" b="1"/>
            </a:lvl8pPr>
            <a:lvl9pPr marL="2638764" indent="0">
              <a:buNone/>
              <a:defRPr sz="1154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6064017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8868CA8-954C-46CF-9A52-CDA5FE5CDD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4271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2" imgH="595" progId="TCLayout.ActiveDocument.1">
                  <p:embed/>
                </p:oleObj>
              </mc:Choice>
              <mc:Fallback>
                <p:oleObj name="Diapositive think-cell" r:id="rId3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8868CA8-954C-46CF-9A52-CDA5FE5CDD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9" name="Presentation Footer">
            <a:extLst>
              <a:ext uri="{FF2B5EF4-FFF2-40B4-BE49-F238E27FC236}">
                <a16:creationId xmlns:a16="http://schemas.microsoft.com/office/drawing/2014/main" id="{F2288642-D6A8-4716-B5EF-36D68817E02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3" y="6355080"/>
            <a:ext cx="5473701" cy="137160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ESA Reorganisation</a:t>
            </a:r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76E9A6AC-3A56-4D69-B8B6-5E24CE0B75A8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January 2023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AAC6746E-625A-44F1-923D-85D1DDF8416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rtl="0">
              <a:defRPr/>
            </a:lvl1pPr>
          </a:lstStyle>
          <a:p>
            <a:fld id="{7870704B-CE94-48CC-AF30-84932A1262A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960900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2B7885F-52C5-4321-9378-1A8489CF24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9764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2" imgH="595" progId="TCLayout.ActiveDocument.1">
                  <p:embed/>
                </p:oleObj>
              </mc:Choice>
              <mc:Fallback>
                <p:oleObj name="Diapositive think-cell" r:id="rId3" imgW="592" imgH="59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2B7885F-52C5-4321-9378-1A8489CF24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69">
            <a:extLst>
              <a:ext uri="{FF2B5EF4-FFF2-40B4-BE49-F238E27FC236}">
                <a16:creationId xmlns:a16="http://schemas.microsoft.com/office/drawing/2014/main" id="{655A41B8-2864-44C4-A9B2-9F40A95F93B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0" name="Rectangle 4">
            <a:extLst>
              <a:ext uri="{FF2B5EF4-FFF2-40B4-BE49-F238E27FC236}">
                <a16:creationId xmlns:a16="http://schemas.microsoft.com/office/drawing/2014/main" id="{13708B2C-83C9-4876-96B1-1CC09F31A16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3249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795"/>
          </a:p>
        </p:txBody>
      </p:sp>
      <p:sp>
        <p:nvSpPr>
          <p:cNvPr id="56323" name="Rectangle 2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13309" y="5258118"/>
            <a:ext cx="10598400" cy="38145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rtl="0">
              <a:buFont typeface="Verdana" pitchFamily="34" charset="0"/>
              <a:buNone/>
              <a:defRPr sz="1731"/>
            </a:lvl1pPr>
          </a:lstStyle>
          <a:p>
            <a:pPr lvl="0"/>
            <a:r>
              <a:rPr lang="en-US" noProof="0" err="1"/>
              <a:t>SubTitle</a:t>
            </a:r>
            <a:endParaRPr lang="en-US" noProof="0"/>
          </a:p>
        </p:txBody>
      </p:sp>
      <p:sp>
        <p:nvSpPr>
          <p:cNvPr id="56325" name="Rectangle 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47302" y="3351588"/>
            <a:ext cx="11777526" cy="707886"/>
          </a:xfrm>
          <a:prstGeom prst="rect">
            <a:avLst/>
          </a:prstGeom>
        </p:spPr>
        <p:txBody>
          <a:bodyPr vert="horz"/>
          <a:lstStyle>
            <a:lvl1pPr rtl="0">
              <a:defRPr sz="3989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NAME YOUR PRESENTATION</a:t>
            </a:r>
          </a:p>
        </p:txBody>
      </p:sp>
      <p:sp>
        <p:nvSpPr>
          <p:cNvPr id="56347" name="Text Box 27"/>
          <p:cNvSpPr txBox="1">
            <a:spLocks noChangeArrowheads="1"/>
          </p:cNvSpPr>
          <p:nvPr userDrawn="1"/>
        </p:nvSpPr>
        <p:spPr bwMode="auto">
          <a:xfrm>
            <a:off x="842434" y="6429376"/>
            <a:ext cx="6688666" cy="211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rtl="0">
              <a:spcBef>
                <a:spcPct val="50000"/>
              </a:spcBef>
            </a:pPr>
            <a:endParaRPr lang="en-US" sz="770" noProof="0"/>
          </a:p>
        </p:txBody>
      </p:sp>
      <p:sp>
        <p:nvSpPr>
          <p:cNvPr id="10" name="Text Box 58"/>
          <p:cNvSpPr txBox="1">
            <a:spLocks noChangeArrowheads="1"/>
          </p:cNvSpPr>
          <p:nvPr userDrawn="1"/>
        </p:nvSpPr>
        <p:spPr bwMode="auto">
          <a:xfrm>
            <a:off x="212898" y="6202800"/>
            <a:ext cx="668866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anchor="b">
            <a:spAutoFit/>
          </a:bodyPr>
          <a:lstStyle/>
          <a:p>
            <a:pPr algn="l" rtl="0">
              <a:spcBef>
                <a:spcPct val="50000"/>
              </a:spcBef>
            </a:pPr>
            <a:r>
              <a:rPr lang="en-US" sz="798" noProof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A UNCLASSIFIED – For ESA Official Use Only</a:t>
            </a:r>
          </a:p>
        </p:txBody>
      </p:sp>
      <p:cxnSp>
        <p:nvCxnSpPr>
          <p:cNvPr id="94" name="Straight Connector 152">
            <a:extLst>
              <a:ext uri="{FF2B5EF4-FFF2-40B4-BE49-F238E27FC236}">
                <a16:creationId xmlns:a16="http://schemas.microsoft.com/office/drawing/2014/main" id="{357F7D0F-2D50-4418-8EB4-564A4B2CEE5B}"/>
              </a:ext>
            </a:extLst>
          </p:cNvPr>
          <p:cNvCxnSpPr>
            <a:cxnSpLocks/>
          </p:cNvCxnSpPr>
          <p:nvPr userDrawn="1"/>
        </p:nvCxnSpPr>
        <p:spPr>
          <a:xfrm>
            <a:off x="222592" y="4106871"/>
            <a:ext cx="11703996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D90A106D-F82D-4A4A-81C2-51E2F76FBD9F}"/>
              </a:ext>
            </a:extLst>
          </p:cNvPr>
          <p:cNvCxnSpPr>
            <a:cxnSpLocks/>
          </p:cNvCxnSpPr>
          <p:nvPr userDrawn="1"/>
        </p:nvCxnSpPr>
        <p:spPr>
          <a:xfrm>
            <a:off x="220831" y="6422971"/>
            <a:ext cx="11703996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7" name="Picture 5">
            <a:extLst>
              <a:ext uri="{FF2B5EF4-FFF2-40B4-BE49-F238E27FC236}">
                <a16:creationId xmlns:a16="http://schemas.microsoft.com/office/drawing/2014/main" id="{F2382437-E20D-44CE-9678-6FC2D2C8FA21}"/>
              </a:ext>
            </a:extLst>
          </p:cNvPr>
          <p:cNvPicPr>
            <a:picLocks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14596" y="6584400"/>
            <a:ext cx="1636920" cy="104400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79" y="6454954"/>
            <a:ext cx="9929648" cy="40513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1A6932F-1CF1-9720-FAB1-A8340904BF7B}"/>
              </a:ext>
            </a:extLst>
          </p:cNvPr>
          <p:cNvSpPr txBox="1"/>
          <p:nvPr userDrawn="1"/>
        </p:nvSpPr>
        <p:spPr>
          <a:xfrm>
            <a:off x="10102514" y="6654558"/>
            <a:ext cx="2089486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/>
            <a:r>
              <a:rPr lang="en-US" sz="898" b="0" i="1">
                <a:solidFill>
                  <a:schemeClr val="bg1"/>
                </a:solidFill>
                <a:effectLst/>
                <a:latin typeface="+mn-lt"/>
              </a:rPr>
              <a:t>Contract ref. 4000140625/23/FR/MA</a:t>
            </a:r>
            <a:endParaRPr lang="en-US" sz="898" b="0" i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045C37C-25BC-04C8-6228-BD8FF7A936F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40514" y="-103716"/>
            <a:ext cx="1822077" cy="1146552"/>
          </a:xfrm>
          <a:prstGeom prst="rect">
            <a:avLst/>
          </a:prstGeom>
        </p:spPr>
      </p:pic>
      <p:pic>
        <p:nvPicPr>
          <p:cNvPr id="5" name="Picture 2" descr="PricewaterhouseCoopers – Wikipedia">
            <a:extLst>
              <a:ext uri="{FF2B5EF4-FFF2-40B4-BE49-F238E27FC236}">
                <a16:creationId xmlns:a16="http://schemas.microsoft.com/office/drawing/2014/main" id="{7109B34D-21C4-A060-DDAE-45CBDF9D7EF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9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3775" b="-6731"/>
          <a:stretch/>
        </p:blipFill>
        <p:spPr bwMode="auto">
          <a:xfrm>
            <a:off x="11526321" y="270015"/>
            <a:ext cx="472538" cy="369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B0110A7-A794-630D-7D33-4F03DB18C250}"/>
              </a:ext>
            </a:extLst>
          </p:cNvPr>
          <p:cNvCxnSpPr/>
          <p:nvPr userDrawn="1"/>
        </p:nvCxnSpPr>
        <p:spPr>
          <a:xfrm>
            <a:off x="11444510" y="87366"/>
            <a:ext cx="0" cy="720000"/>
          </a:xfrm>
          <a:prstGeom prst="line">
            <a:avLst/>
          </a:prstGeom>
          <a:ln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00082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00"/>
                            </p:stCondLst>
                            <p:childTnLst>
                              <p:par>
                                <p:cTn id="14" presetID="2" presetClass="entr" presetSubtype="1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500"/>
                            </p:stCondLst>
                            <p:childTnLst>
                              <p:par>
                                <p:cTn id="1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500"/>
                            </p:stCondLst>
                            <p:childTnLst>
                              <p:par>
                                <p:cTn id="27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29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4000"/>
                            </p:stCondLst>
                            <p:childTnLst>
                              <p:par>
                                <p:cTn id="3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563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500"/>
                            </p:stCondLst>
                            <p:childTnLst>
                              <p:par>
                                <p:cTn id="3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563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000"/>
                            </p:stCondLst>
                            <p:childTnLst>
                              <p:par>
                                <p:cTn id="3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  <p:bldP spid="56323" grpId="0">
        <p:tmplLst>
          <p:tmpl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63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563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6325" grpId="0"/>
      <p:bldP spid="10" grpId="0"/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1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>
            <a:extLst>
              <a:ext uri="{FF2B5EF4-FFF2-40B4-BE49-F238E27FC236}">
                <a16:creationId xmlns:a16="http://schemas.microsoft.com/office/drawing/2014/main" id="{46A22658-13C0-452D-96B9-8DD79B9028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6864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92" imgH="595" progId="TCLayout.ActiveDocument.1">
                  <p:embed/>
                </p:oleObj>
              </mc:Choice>
              <mc:Fallback>
                <p:oleObj name="Diapositive think-cell" r:id="rId4" imgW="592" imgH="595" progId="TCLayout.ActiveDocument.1">
                  <p:embed/>
                  <p:pic>
                    <p:nvPicPr>
                      <p:cNvPr id="38" name="Object 37" hidden="1">
                        <a:extLst>
                          <a:ext uri="{FF2B5EF4-FFF2-40B4-BE49-F238E27FC236}">
                            <a16:creationId xmlns:a16="http://schemas.microsoft.com/office/drawing/2014/main" id="{46A22658-13C0-452D-96B9-8DD79B9028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6" name="Picture 65">
            <a:extLst>
              <a:ext uri="{FF2B5EF4-FFF2-40B4-BE49-F238E27FC236}">
                <a16:creationId xmlns:a16="http://schemas.microsoft.com/office/drawing/2014/main" id="{67F11124-82EC-4269-B097-AA13626176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99" y="0"/>
            <a:ext cx="12158753" cy="6858000"/>
          </a:xfrm>
          <a:prstGeom prst="rect">
            <a:avLst/>
          </a:prstGeom>
        </p:spPr>
      </p:pic>
      <p:sp>
        <p:nvSpPr>
          <p:cNvPr id="34" name="Rectangle 38">
            <a:extLst>
              <a:ext uri="{FF2B5EF4-FFF2-40B4-BE49-F238E27FC236}">
                <a16:creationId xmlns:a16="http://schemas.microsoft.com/office/drawing/2014/main" id="{9C759BF4-95BD-4497-8F73-35566BC9CAF7}"/>
              </a:ext>
            </a:extLst>
          </p:cNvPr>
          <p:cNvSpPr/>
          <p:nvPr userDrawn="1"/>
        </p:nvSpPr>
        <p:spPr>
          <a:xfrm>
            <a:off x="-1" y="0"/>
            <a:ext cx="12192261" cy="6858000"/>
          </a:xfrm>
          <a:prstGeom prst="rect">
            <a:avLst/>
          </a:prstGeom>
          <a:solidFill>
            <a:srgbClr val="003249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795" noProof="0">
              <a:solidFill>
                <a:schemeClr val="lt1">
                  <a:alpha val="60000"/>
                </a:schemeClr>
              </a:solidFill>
            </a:endParaRPr>
          </a:p>
        </p:txBody>
      </p:sp>
      <p:grpSp>
        <p:nvGrpSpPr>
          <p:cNvPr id="4" name="Group 35" hidden="1">
            <a:extLst>
              <a:ext uri="{FF2B5EF4-FFF2-40B4-BE49-F238E27FC236}">
                <a16:creationId xmlns:a16="http://schemas.microsoft.com/office/drawing/2014/main" id="{F49FFC1C-3741-4844-8C3F-E4F557524424}"/>
              </a:ext>
            </a:extLst>
          </p:cNvPr>
          <p:cNvGrpSpPr/>
          <p:nvPr userDrawn="1"/>
        </p:nvGrpSpPr>
        <p:grpSpPr>
          <a:xfrm>
            <a:off x="-6565" y="-3"/>
            <a:ext cx="12269310" cy="6858003"/>
            <a:chOff x="-6566" y="-2"/>
            <a:chExt cx="12269309" cy="6858002"/>
          </a:xfrm>
        </p:grpSpPr>
        <p:sp>
          <p:nvSpPr>
            <p:cNvPr id="5" name="Rectangle 36">
              <a:extLst>
                <a:ext uri="{FF2B5EF4-FFF2-40B4-BE49-F238E27FC236}">
                  <a16:creationId xmlns:a16="http://schemas.microsoft.com/office/drawing/2014/main" id="{0BD74276-8ED2-4824-9998-0BAA3955CD95}"/>
                </a:ext>
              </a:extLst>
            </p:cNvPr>
            <p:cNvSpPr/>
            <p:nvPr userDrawn="1"/>
          </p:nvSpPr>
          <p:spPr>
            <a:xfrm>
              <a:off x="-6566" y="-2"/>
              <a:ext cx="12198565" cy="6858002"/>
            </a:xfrm>
            <a:prstGeom prst="rect">
              <a:avLst/>
            </a:prstGeom>
            <a:solidFill>
              <a:srgbClr val="0032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GB" sz="1298"/>
            </a:p>
          </p:txBody>
        </p:sp>
        <p:grpSp>
          <p:nvGrpSpPr>
            <p:cNvPr id="6" name="Group 37">
              <a:extLst>
                <a:ext uri="{FF2B5EF4-FFF2-40B4-BE49-F238E27FC236}">
                  <a16:creationId xmlns:a16="http://schemas.microsoft.com/office/drawing/2014/main" id="{978F2107-068F-4327-9136-6EB3073A4403}"/>
                </a:ext>
              </a:extLst>
            </p:cNvPr>
            <p:cNvGrpSpPr/>
            <p:nvPr userDrawn="1"/>
          </p:nvGrpSpPr>
          <p:grpSpPr>
            <a:xfrm>
              <a:off x="442260" y="3456849"/>
              <a:ext cx="11820483" cy="2970388"/>
              <a:chOff x="442260" y="3600153"/>
              <a:chExt cx="11820483" cy="2970388"/>
            </a:xfrm>
          </p:grpSpPr>
          <p:cxnSp>
            <p:nvCxnSpPr>
              <p:cNvPr id="7" name="Straight Connector 38">
                <a:extLst>
                  <a:ext uri="{FF2B5EF4-FFF2-40B4-BE49-F238E27FC236}">
                    <a16:creationId xmlns:a16="http://schemas.microsoft.com/office/drawing/2014/main" id="{B5909EFF-FFE7-4DCA-BB35-2930538F8575}"/>
                  </a:ext>
                </a:extLst>
              </p:cNvPr>
              <p:cNvCxnSpPr/>
              <p:nvPr userDrawn="1"/>
            </p:nvCxnSpPr>
            <p:spPr>
              <a:xfrm flipV="1">
                <a:off x="930228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" name="Straight Connector 39">
                <a:extLst>
                  <a:ext uri="{FF2B5EF4-FFF2-40B4-BE49-F238E27FC236}">
                    <a16:creationId xmlns:a16="http://schemas.microsoft.com/office/drawing/2014/main" id="{BBF66BD5-8EBB-4321-AEA7-778A769BCD0F}"/>
                  </a:ext>
                </a:extLst>
              </p:cNvPr>
              <p:cNvCxnSpPr/>
              <p:nvPr userDrawn="1"/>
            </p:nvCxnSpPr>
            <p:spPr>
              <a:xfrm flipV="1">
                <a:off x="877305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40">
                <a:extLst>
                  <a:ext uri="{FF2B5EF4-FFF2-40B4-BE49-F238E27FC236}">
                    <a16:creationId xmlns:a16="http://schemas.microsoft.com/office/drawing/2014/main" id="{B6105F55-6F73-4EAC-A6FE-341C1EDD082D}"/>
                  </a:ext>
                </a:extLst>
              </p:cNvPr>
              <p:cNvCxnSpPr/>
              <p:nvPr userDrawn="1"/>
            </p:nvCxnSpPr>
            <p:spPr>
              <a:xfrm flipV="1">
                <a:off x="8235524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41">
                <a:extLst>
                  <a:ext uri="{FF2B5EF4-FFF2-40B4-BE49-F238E27FC236}">
                    <a16:creationId xmlns:a16="http://schemas.microsoft.com/office/drawing/2014/main" id="{231C4A1D-0D18-4C45-8CD2-9B482D211697}"/>
                  </a:ext>
                </a:extLst>
              </p:cNvPr>
              <p:cNvCxnSpPr/>
              <p:nvPr userDrawn="1"/>
            </p:nvCxnSpPr>
            <p:spPr>
              <a:xfrm flipV="1">
                <a:off x="78660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42">
                <a:extLst>
                  <a:ext uri="{FF2B5EF4-FFF2-40B4-BE49-F238E27FC236}">
                    <a16:creationId xmlns:a16="http://schemas.microsoft.com/office/drawing/2014/main" id="{887B699A-26D9-4993-847C-C919922EE7EC}"/>
                  </a:ext>
                </a:extLst>
              </p:cNvPr>
              <p:cNvCxnSpPr/>
              <p:nvPr userDrawn="1"/>
            </p:nvCxnSpPr>
            <p:spPr>
              <a:xfrm flipV="1">
                <a:off x="7498863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43">
                <a:extLst>
                  <a:ext uri="{FF2B5EF4-FFF2-40B4-BE49-F238E27FC236}">
                    <a16:creationId xmlns:a16="http://schemas.microsoft.com/office/drawing/2014/main" id="{2861B340-F5C1-4BA1-BA98-8D650473066B}"/>
                  </a:ext>
                </a:extLst>
              </p:cNvPr>
              <p:cNvCxnSpPr/>
              <p:nvPr userDrawn="1"/>
            </p:nvCxnSpPr>
            <p:spPr>
              <a:xfrm flipV="1">
                <a:off x="7127208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44">
                <a:extLst>
                  <a:ext uri="{FF2B5EF4-FFF2-40B4-BE49-F238E27FC236}">
                    <a16:creationId xmlns:a16="http://schemas.microsoft.com/office/drawing/2014/main" id="{C3568F9F-131F-4452-A304-F5E5399BCD8C}"/>
                  </a:ext>
                </a:extLst>
              </p:cNvPr>
              <p:cNvCxnSpPr/>
              <p:nvPr userDrawn="1"/>
            </p:nvCxnSpPr>
            <p:spPr>
              <a:xfrm flipV="1">
                <a:off x="675865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45">
                <a:extLst>
                  <a:ext uri="{FF2B5EF4-FFF2-40B4-BE49-F238E27FC236}">
                    <a16:creationId xmlns:a16="http://schemas.microsoft.com/office/drawing/2014/main" id="{CF836D01-B716-45B7-86B0-7412F0310BC3}"/>
                  </a:ext>
                </a:extLst>
              </p:cNvPr>
              <p:cNvCxnSpPr/>
              <p:nvPr userDrawn="1"/>
            </p:nvCxnSpPr>
            <p:spPr>
              <a:xfrm flipV="1">
                <a:off x="638946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46">
                <a:extLst>
                  <a:ext uri="{FF2B5EF4-FFF2-40B4-BE49-F238E27FC236}">
                    <a16:creationId xmlns:a16="http://schemas.microsoft.com/office/drawing/2014/main" id="{456D7560-3022-407D-A56A-387D1CF7CBBE}"/>
                  </a:ext>
                </a:extLst>
              </p:cNvPr>
              <p:cNvCxnSpPr/>
              <p:nvPr userDrawn="1"/>
            </p:nvCxnSpPr>
            <p:spPr>
              <a:xfrm flipV="1">
                <a:off x="6009868" y="3607282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47">
                <a:extLst>
                  <a:ext uri="{FF2B5EF4-FFF2-40B4-BE49-F238E27FC236}">
                    <a16:creationId xmlns:a16="http://schemas.microsoft.com/office/drawing/2014/main" id="{C7A0A529-063D-45DD-8385-C74DBDC59E7E}"/>
                  </a:ext>
                </a:extLst>
              </p:cNvPr>
              <p:cNvCxnSpPr/>
              <p:nvPr userDrawn="1"/>
            </p:nvCxnSpPr>
            <p:spPr>
              <a:xfrm flipV="1">
                <a:off x="56439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48">
                <a:extLst>
                  <a:ext uri="{FF2B5EF4-FFF2-40B4-BE49-F238E27FC236}">
                    <a16:creationId xmlns:a16="http://schemas.microsoft.com/office/drawing/2014/main" id="{A931E34D-B55F-40AD-83AF-7163B7D714F7}"/>
                  </a:ext>
                </a:extLst>
              </p:cNvPr>
              <p:cNvCxnSpPr/>
              <p:nvPr userDrawn="1"/>
            </p:nvCxnSpPr>
            <p:spPr>
              <a:xfrm flipV="1">
                <a:off x="526926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49">
                <a:extLst>
                  <a:ext uri="{FF2B5EF4-FFF2-40B4-BE49-F238E27FC236}">
                    <a16:creationId xmlns:a16="http://schemas.microsoft.com/office/drawing/2014/main" id="{85C0AB43-36CD-4E1C-BBD6-F6E40C7E2D07}"/>
                  </a:ext>
                </a:extLst>
              </p:cNvPr>
              <p:cNvCxnSpPr/>
              <p:nvPr userDrawn="1"/>
            </p:nvCxnSpPr>
            <p:spPr>
              <a:xfrm flipV="1">
                <a:off x="48896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50">
                <a:extLst>
                  <a:ext uri="{FF2B5EF4-FFF2-40B4-BE49-F238E27FC236}">
                    <a16:creationId xmlns:a16="http://schemas.microsoft.com/office/drawing/2014/main" id="{78CD91FC-28C9-4AC7-87D2-3236ADA79432}"/>
                  </a:ext>
                </a:extLst>
              </p:cNvPr>
              <p:cNvCxnSpPr/>
              <p:nvPr userDrawn="1"/>
            </p:nvCxnSpPr>
            <p:spPr>
              <a:xfrm flipV="1">
                <a:off x="452332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51">
                <a:extLst>
                  <a:ext uri="{FF2B5EF4-FFF2-40B4-BE49-F238E27FC236}">
                    <a16:creationId xmlns:a16="http://schemas.microsoft.com/office/drawing/2014/main" id="{43CC5094-48A5-4786-A10E-9CE8FDA8F34F}"/>
                  </a:ext>
                </a:extLst>
              </p:cNvPr>
              <p:cNvCxnSpPr/>
              <p:nvPr userDrawn="1"/>
            </p:nvCxnSpPr>
            <p:spPr>
              <a:xfrm flipV="1">
                <a:off x="415592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52">
                <a:extLst>
                  <a:ext uri="{FF2B5EF4-FFF2-40B4-BE49-F238E27FC236}">
                    <a16:creationId xmlns:a16="http://schemas.microsoft.com/office/drawing/2014/main" id="{B1CF75A4-9F1F-48F6-AFDA-C7897F2C1B55}"/>
                  </a:ext>
                </a:extLst>
              </p:cNvPr>
              <p:cNvCxnSpPr/>
              <p:nvPr userDrawn="1"/>
            </p:nvCxnSpPr>
            <p:spPr>
              <a:xfrm flipV="1">
                <a:off x="3786582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53">
                <a:extLst>
                  <a:ext uri="{FF2B5EF4-FFF2-40B4-BE49-F238E27FC236}">
                    <a16:creationId xmlns:a16="http://schemas.microsoft.com/office/drawing/2014/main" id="{D8B3EC32-3BCC-4CF3-A8AB-D5695C387FB1}"/>
                  </a:ext>
                </a:extLst>
              </p:cNvPr>
              <p:cNvCxnSpPr/>
              <p:nvPr userDrawn="1"/>
            </p:nvCxnSpPr>
            <p:spPr>
              <a:xfrm flipV="1">
                <a:off x="342049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54">
                <a:extLst>
                  <a:ext uri="{FF2B5EF4-FFF2-40B4-BE49-F238E27FC236}">
                    <a16:creationId xmlns:a16="http://schemas.microsoft.com/office/drawing/2014/main" id="{646D2636-826F-4188-AECD-8E9F547C330E}"/>
                  </a:ext>
                </a:extLst>
              </p:cNvPr>
              <p:cNvCxnSpPr/>
              <p:nvPr userDrawn="1"/>
            </p:nvCxnSpPr>
            <p:spPr>
              <a:xfrm flipV="1">
                <a:off x="305109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55">
                <a:extLst>
                  <a:ext uri="{FF2B5EF4-FFF2-40B4-BE49-F238E27FC236}">
                    <a16:creationId xmlns:a16="http://schemas.microsoft.com/office/drawing/2014/main" id="{D5190618-4665-4F2E-8844-020AD30239F6}"/>
                  </a:ext>
                </a:extLst>
              </p:cNvPr>
              <p:cNvCxnSpPr/>
              <p:nvPr userDrawn="1"/>
            </p:nvCxnSpPr>
            <p:spPr>
              <a:xfrm flipV="1">
                <a:off x="267428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56">
                <a:extLst>
                  <a:ext uri="{FF2B5EF4-FFF2-40B4-BE49-F238E27FC236}">
                    <a16:creationId xmlns:a16="http://schemas.microsoft.com/office/drawing/2014/main" id="{E501E497-7672-440E-967B-911C1D6B4B10}"/>
                  </a:ext>
                </a:extLst>
              </p:cNvPr>
              <p:cNvCxnSpPr/>
              <p:nvPr userDrawn="1"/>
            </p:nvCxnSpPr>
            <p:spPr>
              <a:xfrm flipV="1">
                <a:off x="23085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57">
                <a:extLst>
                  <a:ext uri="{FF2B5EF4-FFF2-40B4-BE49-F238E27FC236}">
                    <a16:creationId xmlns:a16="http://schemas.microsoft.com/office/drawing/2014/main" id="{8A688C29-83E0-4CC9-A8C5-B6B30A57710C}"/>
                  </a:ext>
                </a:extLst>
              </p:cNvPr>
              <p:cNvCxnSpPr/>
              <p:nvPr userDrawn="1"/>
            </p:nvCxnSpPr>
            <p:spPr>
              <a:xfrm flipV="1">
                <a:off x="193107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58">
                <a:extLst>
                  <a:ext uri="{FF2B5EF4-FFF2-40B4-BE49-F238E27FC236}">
                    <a16:creationId xmlns:a16="http://schemas.microsoft.com/office/drawing/2014/main" id="{8D3348AE-2C08-472A-92E4-12BF79B738D1}"/>
                  </a:ext>
                </a:extLst>
              </p:cNvPr>
              <p:cNvCxnSpPr/>
              <p:nvPr userDrawn="1"/>
            </p:nvCxnSpPr>
            <p:spPr>
              <a:xfrm flipV="1">
                <a:off x="155844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59">
                <a:extLst>
                  <a:ext uri="{FF2B5EF4-FFF2-40B4-BE49-F238E27FC236}">
                    <a16:creationId xmlns:a16="http://schemas.microsoft.com/office/drawing/2014/main" id="{D93531AE-9D57-49CA-BC46-F7384685F786}"/>
                  </a:ext>
                </a:extLst>
              </p:cNvPr>
              <p:cNvCxnSpPr/>
              <p:nvPr userDrawn="1"/>
            </p:nvCxnSpPr>
            <p:spPr>
              <a:xfrm flipV="1">
                <a:off x="11883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60">
                <a:extLst>
                  <a:ext uri="{FF2B5EF4-FFF2-40B4-BE49-F238E27FC236}">
                    <a16:creationId xmlns:a16="http://schemas.microsoft.com/office/drawing/2014/main" id="{6130565B-76F2-434C-8896-54E337D6B462}"/>
                  </a:ext>
                </a:extLst>
              </p:cNvPr>
              <p:cNvCxnSpPr/>
              <p:nvPr userDrawn="1"/>
            </p:nvCxnSpPr>
            <p:spPr>
              <a:xfrm flipV="1">
                <a:off x="81408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61">
                <a:extLst>
                  <a:ext uri="{FF2B5EF4-FFF2-40B4-BE49-F238E27FC236}">
                    <a16:creationId xmlns:a16="http://schemas.microsoft.com/office/drawing/2014/main" id="{A0D45B84-40CC-46CF-ACE4-C3A1732817B3}"/>
                  </a:ext>
                </a:extLst>
              </p:cNvPr>
              <p:cNvCxnSpPr/>
              <p:nvPr userDrawn="1"/>
            </p:nvCxnSpPr>
            <p:spPr>
              <a:xfrm flipV="1">
                <a:off x="4422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altLang="en-US" noProof="0"/>
              <a:t>CLICK TO EDIT MASTER TITLE STYLE</a:t>
            </a:r>
            <a:endParaRPr lang="en-US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009754-3A1E-461E-B289-FE7FC85C2E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001" y="882000"/>
            <a:ext cx="11732718" cy="5328000"/>
          </a:xfrm>
        </p:spPr>
        <p:txBody>
          <a:bodyPr/>
          <a:lstStyle>
            <a:lvl1pPr rtl="0">
              <a:defRPr sz="1795"/>
            </a:lvl1pPr>
            <a:lvl2pPr rtl="0">
              <a:defRPr sz="1795"/>
            </a:lvl2pPr>
            <a:lvl3pPr rtl="0">
              <a:defRPr sz="1795"/>
            </a:lvl3pPr>
            <a:lvl4pPr rtl="0">
              <a:defRPr sz="1795"/>
            </a:lvl4pPr>
            <a:lvl5pPr rtl="0">
              <a:defRPr sz="1795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1" name="Text Box 38">
            <a:extLst>
              <a:ext uri="{FF2B5EF4-FFF2-40B4-BE49-F238E27FC236}">
                <a16:creationId xmlns:a16="http://schemas.microsoft.com/office/drawing/2014/main" id="{877F5B03-CBC3-47CB-9BB2-474A78C4A2D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183562" y="6201716"/>
            <a:ext cx="374126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 rtl="0">
              <a:spcBef>
                <a:spcPct val="50000"/>
              </a:spcBef>
            </a:pPr>
            <a:fld id="{BBA2E11D-44E1-43DD-A173-928128880055}" type="slidenum">
              <a:rPr lang="en-US" sz="798" noProof="1" smtClean="0">
                <a:solidFill>
                  <a:srgbClr val="8197A6"/>
                </a:solidFill>
                <a:latin typeface="Arial" charset="0"/>
                <a:ea typeface="Arial" charset="0"/>
                <a:cs typeface="Arial" charset="0"/>
              </a:rPr>
              <a:pPr lvl="2" algn="r" rtl="0">
                <a:spcBef>
                  <a:spcPct val="50000"/>
                </a:spcBef>
              </a:pPr>
              <a:t>‹#›</a:t>
            </a:fld>
            <a:endParaRPr lang="en-US" sz="798" b="0" i="0" noProof="0">
              <a:solidFill>
                <a:srgbClr val="8197A6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9EE444F-6605-400F-BF7E-C6FB5D4308CE}"/>
              </a:ext>
            </a:extLst>
          </p:cNvPr>
          <p:cNvCxnSpPr>
            <a:cxnSpLocks/>
          </p:cNvCxnSpPr>
          <p:nvPr userDrawn="1"/>
        </p:nvCxnSpPr>
        <p:spPr>
          <a:xfrm>
            <a:off x="220831" y="6422971"/>
            <a:ext cx="11703996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D20DA465-76C5-4858-B030-FBB9CA538CD7}"/>
              </a:ext>
            </a:extLst>
          </p:cNvPr>
          <p:cNvCxnSpPr/>
          <p:nvPr userDrawn="1"/>
        </p:nvCxnSpPr>
        <p:spPr>
          <a:xfrm>
            <a:off x="217667" y="882193"/>
            <a:ext cx="11736308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9" name="Picture 5">
            <a:extLst>
              <a:ext uri="{FF2B5EF4-FFF2-40B4-BE49-F238E27FC236}">
                <a16:creationId xmlns:a16="http://schemas.microsoft.com/office/drawing/2014/main" id="{F46AEE21-774A-4AB5-ADC4-A6979F397CFE}"/>
              </a:ext>
            </a:extLst>
          </p:cNvPr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14596" y="6584400"/>
            <a:ext cx="1633533" cy="104400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75" y="6452251"/>
            <a:ext cx="9929648" cy="405130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81BD2E07-C0C4-4FA9-0D5B-14E4E8ED5514}"/>
              </a:ext>
            </a:extLst>
          </p:cNvPr>
          <p:cNvSpPr txBox="1"/>
          <p:nvPr userDrawn="1"/>
        </p:nvSpPr>
        <p:spPr>
          <a:xfrm>
            <a:off x="10102514" y="6654558"/>
            <a:ext cx="2089486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/>
            <a:r>
              <a:rPr lang="en-US" sz="898" b="0" i="1">
                <a:solidFill>
                  <a:schemeClr val="bg1"/>
                </a:solidFill>
                <a:effectLst/>
                <a:latin typeface="+mn-lt"/>
              </a:rPr>
              <a:t>Contract ref. 4000140625/23/FR/MA</a:t>
            </a:r>
            <a:endParaRPr lang="en-US" sz="898" b="0" i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D43C56E8-0DE8-414D-7AE5-D8A3E6E48034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40514" y="-103716"/>
            <a:ext cx="1822077" cy="1146552"/>
          </a:xfrm>
          <a:prstGeom prst="rect">
            <a:avLst/>
          </a:prstGeom>
        </p:spPr>
      </p:pic>
      <p:pic>
        <p:nvPicPr>
          <p:cNvPr id="35" name="Picture 2" descr="PricewaterhouseCoopers – Wikipedia">
            <a:extLst>
              <a:ext uri="{FF2B5EF4-FFF2-40B4-BE49-F238E27FC236}">
                <a16:creationId xmlns:a16="http://schemas.microsoft.com/office/drawing/2014/main" id="{6D2042EC-EC53-F5FF-DA45-0193F662291B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0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3775" b="-6731"/>
          <a:stretch/>
        </p:blipFill>
        <p:spPr bwMode="auto">
          <a:xfrm>
            <a:off x="11526321" y="270015"/>
            <a:ext cx="472538" cy="369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51DDE0C3-0AF9-4B01-B20A-E768F4F1B9B0}"/>
              </a:ext>
            </a:extLst>
          </p:cNvPr>
          <p:cNvCxnSpPr/>
          <p:nvPr userDrawn="1"/>
        </p:nvCxnSpPr>
        <p:spPr>
          <a:xfrm>
            <a:off x="11444510" y="87366"/>
            <a:ext cx="0" cy="720000"/>
          </a:xfrm>
          <a:prstGeom prst="line">
            <a:avLst/>
          </a:prstGeom>
          <a:ln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907519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2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2C867F89-799E-41FA-8307-C61842352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0585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92" imgH="595" progId="TCLayout.ActiveDocument.1">
                  <p:embed/>
                </p:oleObj>
              </mc:Choice>
              <mc:Fallback>
                <p:oleObj name="Diapositive think-cell" r:id="rId4" imgW="592" imgH="59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2C867F89-799E-41FA-8307-C61842352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7" name="Picture 36">
            <a:extLst>
              <a:ext uri="{FF2B5EF4-FFF2-40B4-BE49-F238E27FC236}">
                <a16:creationId xmlns:a16="http://schemas.microsoft.com/office/drawing/2014/main" id="{0103AB9D-4033-450F-9AFB-12010B6E635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4" y="0"/>
            <a:ext cx="12158753" cy="6858000"/>
          </a:xfrm>
          <a:prstGeom prst="rect">
            <a:avLst/>
          </a:prstGeom>
        </p:spPr>
      </p:pic>
      <p:sp>
        <p:nvSpPr>
          <p:cNvPr id="34" name="Rectangle 38">
            <a:extLst>
              <a:ext uri="{FF2B5EF4-FFF2-40B4-BE49-F238E27FC236}">
                <a16:creationId xmlns:a16="http://schemas.microsoft.com/office/drawing/2014/main" id="{9C759BF4-95BD-4497-8F73-35566BC9CAF7}"/>
              </a:ext>
            </a:extLst>
          </p:cNvPr>
          <p:cNvSpPr/>
          <p:nvPr userDrawn="1"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rgbClr val="003249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795">
              <a:solidFill>
                <a:schemeClr val="lt1">
                  <a:alpha val="60000"/>
                </a:schemeClr>
              </a:solidFill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altLang="en-US" noProof="0"/>
              <a:t>CLICK TO EDIT MASTER TITLE STYLE</a:t>
            </a:r>
            <a:endParaRPr lang="en-US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009754-3A1E-461E-B289-FE7FC85C2E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001" y="882000"/>
            <a:ext cx="11763661" cy="5328000"/>
          </a:xfrm>
        </p:spPr>
        <p:txBody>
          <a:bodyPr/>
          <a:lstStyle>
            <a:lvl1pPr rtl="0">
              <a:defRPr sz="1795"/>
            </a:lvl1pPr>
            <a:lvl2pPr rtl="0">
              <a:defRPr sz="1795"/>
            </a:lvl2pPr>
            <a:lvl3pPr rtl="0">
              <a:defRPr sz="1795"/>
            </a:lvl3pPr>
            <a:lvl4pPr rtl="0">
              <a:defRPr sz="1795"/>
            </a:lvl4pPr>
            <a:lvl5pPr rtl="0">
              <a:defRPr sz="1795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Text Box 38">
            <a:extLst>
              <a:ext uri="{FF2B5EF4-FFF2-40B4-BE49-F238E27FC236}">
                <a16:creationId xmlns:a16="http://schemas.microsoft.com/office/drawing/2014/main" id="{CC8E513C-B257-4001-A64F-C4F555784E6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183562" y="6201716"/>
            <a:ext cx="374126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 rtl="0">
              <a:spcBef>
                <a:spcPct val="50000"/>
              </a:spcBef>
            </a:pPr>
            <a:fld id="{BBA2E11D-44E1-43DD-A173-928128880055}" type="slidenum">
              <a:rPr lang="en-US" sz="798" noProof="1" smtClean="0">
                <a:solidFill>
                  <a:srgbClr val="8197A6"/>
                </a:solidFill>
                <a:latin typeface="Arial" charset="0"/>
                <a:ea typeface="Arial" charset="0"/>
                <a:cs typeface="Arial" charset="0"/>
              </a:rPr>
              <a:pPr lvl="2" algn="r" rtl="0">
                <a:spcBef>
                  <a:spcPct val="50000"/>
                </a:spcBef>
              </a:pPr>
              <a:t>‹#›</a:t>
            </a:fld>
            <a:endParaRPr lang="en-US" sz="798" b="0" i="0" noProof="0">
              <a:solidFill>
                <a:srgbClr val="8197A6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275813CB-4394-43D3-A6B9-ACE26136B241}"/>
              </a:ext>
            </a:extLst>
          </p:cNvPr>
          <p:cNvCxnSpPr>
            <a:cxnSpLocks/>
          </p:cNvCxnSpPr>
          <p:nvPr userDrawn="1"/>
        </p:nvCxnSpPr>
        <p:spPr>
          <a:xfrm>
            <a:off x="220831" y="6422971"/>
            <a:ext cx="11703996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325E3871-9DD3-4380-BBB0-9E0A8BFDF550}"/>
              </a:ext>
            </a:extLst>
          </p:cNvPr>
          <p:cNvCxnSpPr/>
          <p:nvPr userDrawn="1"/>
        </p:nvCxnSpPr>
        <p:spPr>
          <a:xfrm>
            <a:off x="217667" y="882193"/>
            <a:ext cx="11736308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3" name="Picture 5">
            <a:extLst>
              <a:ext uri="{FF2B5EF4-FFF2-40B4-BE49-F238E27FC236}">
                <a16:creationId xmlns:a16="http://schemas.microsoft.com/office/drawing/2014/main" id="{663393E8-7604-477C-92ED-F503CA6D7EE9}"/>
              </a:ext>
            </a:extLst>
          </p:cNvPr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14596" y="6584400"/>
            <a:ext cx="1633533" cy="104400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469" y="6449087"/>
            <a:ext cx="9929648" cy="40513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5CE2E11-5B70-5D3B-BCDF-E779CA8B5B97}"/>
              </a:ext>
            </a:extLst>
          </p:cNvPr>
          <p:cNvSpPr txBox="1"/>
          <p:nvPr userDrawn="1"/>
        </p:nvSpPr>
        <p:spPr>
          <a:xfrm>
            <a:off x="10102514" y="6654558"/>
            <a:ext cx="2089486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/>
            <a:r>
              <a:rPr lang="en-US" sz="898" b="0" i="1">
                <a:solidFill>
                  <a:schemeClr val="bg1"/>
                </a:solidFill>
                <a:effectLst/>
                <a:latin typeface="+mn-lt"/>
              </a:rPr>
              <a:t>Contract ref. 4000140625/23/FR/MA</a:t>
            </a:r>
            <a:endParaRPr lang="en-US" sz="898" b="0" i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741002B-DF0B-2F08-38E4-4BFD29894162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40514" y="-103716"/>
            <a:ext cx="1822077" cy="1146552"/>
          </a:xfrm>
          <a:prstGeom prst="rect">
            <a:avLst/>
          </a:prstGeom>
        </p:spPr>
      </p:pic>
      <p:pic>
        <p:nvPicPr>
          <p:cNvPr id="7" name="Picture 2" descr="PricewaterhouseCoopers – Wikipedia">
            <a:extLst>
              <a:ext uri="{FF2B5EF4-FFF2-40B4-BE49-F238E27FC236}">
                <a16:creationId xmlns:a16="http://schemas.microsoft.com/office/drawing/2014/main" id="{AC7DAE87-F625-84F8-1565-EA4B1EC9789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0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3775" b="-6731"/>
          <a:stretch/>
        </p:blipFill>
        <p:spPr bwMode="auto">
          <a:xfrm>
            <a:off x="11526321" y="270015"/>
            <a:ext cx="472538" cy="369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1B089D8-8755-9AE0-B747-4E6A71639372}"/>
              </a:ext>
            </a:extLst>
          </p:cNvPr>
          <p:cNvCxnSpPr/>
          <p:nvPr userDrawn="1"/>
        </p:nvCxnSpPr>
        <p:spPr>
          <a:xfrm>
            <a:off x="11444510" y="87366"/>
            <a:ext cx="0" cy="720000"/>
          </a:xfrm>
          <a:prstGeom prst="line">
            <a:avLst/>
          </a:prstGeom>
          <a:ln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58479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G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0EF40B6-E68F-4E02-959A-D31220D418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0243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92" imgH="595" progId="TCLayout.ActiveDocument.1">
                  <p:embed/>
                </p:oleObj>
              </mc:Choice>
              <mc:Fallback>
                <p:oleObj name="Diapositive think-cell" r:id="rId4" imgW="592" imgH="59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0EF40B6-E68F-4E02-959A-D31220D418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8" name="Picture 37">
            <a:extLst>
              <a:ext uri="{FF2B5EF4-FFF2-40B4-BE49-F238E27FC236}">
                <a16:creationId xmlns:a16="http://schemas.microsoft.com/office/drawing/2014/main" id="{DA398890-117D-44A3-97A3-567CB60E6D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04" y="-1"/>
            <a:ext cx="12158752" cy="6858001"/>
          </a:xfrm>
          <a:prstGeom prst="rect">
            <a:avLst/>
          </a:prstGeom>
        </p:spPr>
      </p:pic>
      <p:sp>
        <p:nvSpPr>
          <p:cNvPr id="34" name="Rectangle 38">
            <a:extLst>
              <a:ext uri="{FF2B5EF4-FFF2-40B4-BE49-F238E27FC236}">
                <a16:creationId xmlns:a16="http://schemas.microsoft.com/office/drawing/2014/main" id="{9C759BF4-95BD-4497-8F73-35566BC9CAF7}"/>
              </a:ext>
            </a:extLst>
          </p:cNvPr>
          <p:cNvSpPr/>
          <p:nvPr userDrawn="1"/>
        </p:nvSpPr>
        <p:spPr>
          <a:xfrm>
            <a:off x="-1" y="0"/>
            <a:ext cx="12188671" cy="6858000"/>
          </a:xfrm>
          <a:prstGeom prst="rect">
            <a:avLst/>
          </a:prstGeom>
          <a:solidFill>
            <a:srgbClr val="003249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795">
              <a:solidFill>
                <a:schemeClr val="lt1">
                  <a:alpha val="60000"/>
                </a:schemeClr>
              </a:solidFill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altLang="en-US" noProof="0"/>
              <a:t>CLICK TO EDIT MASTER TITLE STYLE</a:t>
            </a:r>
            <a:endParaRPr lang="en-US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009754-3A1E-461E-B289-FE7FC85C2E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001" y="882000"/>
            <a:ext cx="11732718" cy="5328000"/>
          </a:xfrm>
        </p:spPr>
        <p:txBody>
          <a:bodyPr/>
          <a:lstStyle>
            <a:lvl1pPr rtl="0">
              <a:defRPr sz="1795"/>
            </a:lvl1pPr>
            <a:lvl2pPr rtl="0">
              <a:defRPr sz="1795"/>
            </a:lvl2pPr>
            <a:lvl3pPr rtl="0">
              <a:defRPr sz="1795"/>
            </a:lvl3pPr>
            <a:lvl4pPr rtl="0">
              <a:defRPr sz="1795"/>
            </a:lvl4pPr>
            <a:lvl5pPr rtl="0">
              <a:defRPr sz="1795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Box 38">
            <a:extLst>
              <a:ext uri="{FF2B5EF4-FFF2-40B4-BE49-F238E27FC236}">
                <a16:creationId xmlns:a16="http://schemas.microsoft.com/office/drawing/2014/main" id="{7EAA3B37-8161-430C-A74C-2E26E270DE0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183562" y="6201716"/>
            <a:ext cx="374126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 rtl="0">
              <a:spcBef>
                <a:spcPct val="50000"/>
              </a:spcBef>
            </a:pPr>
            <a:fld id="{BBA2E11D-44E1-43DD-A173-928128880055}" type="slidenum">
              <a:rPr lang="en-US" sz="798" noProof="1" smtClean="0">
                <a:solidFill>
                  <a:srgbClr val="8197A6"/>
                </a:solidFill>
                <a:latin typeface="Arial" charset="0"/>
                <a:ea typeface="Arial" charset="0"/>
                <a:cs typeface="Arial" charset="0"/>
              </a:rPr>
              <a:pPr lvl="2" algn="r" rtl="0">
                <a:spcBef>
                  <a:spcPct val="50000"/>
                </a:spcBef>
              </a:pPr>
              <a:t>‹#›</a:t>
            </a:fld>
            <a:endParaRPr lang="en-US" sz="798" b="0" i="0" noProof="0">
              <a:solidFill>
                <a:srgbClr val="8197A6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E5880B0D-A6A8-4687-98E2-A96E60FA37AA}"/>
              </a:ext>
            </a:extLst>
          </p:cNvPr>
          <p:cNvCxnSpPr>
            <a:cxnSpLocks/>
          </p:cNvCxnSpPr>
          <p:nvPr userDrawn="1"/>
        </p:nvCxnSpPr>
        <p:spPr>
          <a:xfrm>
            <a:off x="220831" y="6422971"/>
            <a:ext cx="11703996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049C1B0E-6D53-4CDD-9145-B0B42CF57C06}"/>
              </a:ext>
            </a:extLst>
          </p:cNvPr>
          <p:cNvCxnSpPr/>
          <p:nvPr userDrawn="1"/>
        </p:nvCxnSpPr>
        <p:spPr>
          <a:xfrm>
            <a:off x="217667" y="882193"/>
            <a:ext cx="11736308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4" name="Picture 5">
            <a:extLst>
              <a:ext uri="{FF2B5EF4-FFF2-40B4-BE49-F238E27FC236}">
                <a16:creationId xmlns:a16="http://schemas.microsoft.com/office/drawing/2014/main" id="{AFACDF93-324D-4973-8C62-633313B491BB}"/>
              </a:ext>
            </a:extLst>
          </p:cNvPr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14596" y="6584400"/>
            <a:ext cx="1633533" cy="10440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35" y="6449973"/>
            <a:ext cx="9929648" cy="40513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F1D25EB-BF40-0E88-BDAE-8782532354C1}"/>
              </a:ext>
            </a:extLst>
          </p:cNvPr>
          <p:cNvSpPr txBox="1"/>
          <p:nvPr userDrawn="1"/>
        </p:nvSpPr>
        <p:spPr>
          <a:xfrm>
            <a:off x="10102514" y="6654558"/>
            <a:ext cx="2089486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/>
            <a:r>
              <a:rPr lang="en-US" sz="898" b="0" i="1">
                <a:solidFill>
                  <a:schemeClr val="bg1"/>
                </a:solidFill>
                <a:effectLst/>
                <a:latin typeface="+mn-lt"/>
              </a:rPr>
              <a:t>Contract ref. 4000140625/23/FR/MA</a:t>
            </a:r>
            <a:endParaRPr lang="en-US" sz="898" b="0" i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4B09CF5-B596-A9EE-624E-E59280EA1DD1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40514" y="-103716"/>
            <a:ext cx="1822077" cy="1146552"/>
          </a:xfrm>
          <a:prstGeom prst="rect">
            <a:avLst/>
          </a:prstGeom>
        </p:spPr>
      </p:pic>
      <p:pic>
        <p:nvPicPr>
          <p:cNvPr id="7" name="Picture 2" descr="PricewaterhouseCoopers – Wikipedia">
            <a:extLst>
              <a:ext uri="{FF2B5EF4-FFF2-40B4-BE49-F238E27FC236}">
                <a16:creationId xmlns:a16="http://schemas.microsoft.com/office/drawing/2014/main" id="{92B44751-4368-F0FF-DE89-2AAA4403D2C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0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3775" b="-6731"/>
          <a:stretch/>
        </p:blipFill>
        <p:spPr bwMode="auto">
          <a:xfrm>
            <a:off x="11526321" y="270015"/>
            <a:ext cx="472538" cy="369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42178C8-5843-DC21-0DA9-641F19B12EE8}"/>
              </a:ext>
            </a:extLst>
          </p:cNvPr>
          <p:cNvCxnSpPr/>
          <p:nvPr userDrawn="1"/>
        </p:nvCxnSpPr>
        <p:spPr>
          <a:xfrm>
            <a:off x="11444510" y="87366"/>
            <a:ext cx="0" cy="720000"/>
          </a:xfrm>
          <a:prstGeom prst="line">
            <a:avLst/>
          </a:prstGeom>
          <a:ln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13667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>
            <a:extLst>
              <a:ext uri="{FF2B5EF4-FFF2-40B4-BE49-F238E27FC236}">
                <a16:creationId xmlns:a16="http://schemas.microsoft.com/office/drawing/2014/main" id="{937B2312-E18E-4D8A-8C67-398509FFC4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2893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2" imgH="595" progId="TCLayout.ActiveDocument.1">
                  <p:embed/>
                </p:oleObj>
              </mc:Choice>
              <mc:Fallback>
                <p:oleObj name="Diapositive think-cell" r:id="rId3" imgW="592" imgH="595" progId="TCLayout.ActiveDocument.1">
                  <p:embed/>
                  <p:pic>
                    <p:nvPicPr>
                      <p:cNvPr id="32" name="Object 31" hidden="1">
                        <a:extLst>
                          <a:ext uri="{FF2B5EF4-FFF2-40B4-BE49-F238E27FC236}">
                            <a16:creationId xmlns:a16="http://schemas.microsoft.com/office/drawing/2014/main" id="{937B2312-E18E-4D8A-8C67-398509FFC4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37" hidden="1">
            <a:extLst>
              <a:ext uri="{FF2B5EF4-FFF2-40B4-BE49-F238E27FC236}">
                <a16:creationId xmlns:a16="http://schemas.microsoft.com/office/drawing/2014/main" id="{978F2107-068F-4327-9136-6EB3073A4403}"/>
              </a:ext>
            </a:extLst>
          </p:cNvPr>
          <p:cNvGrpSpPr/>
          <p:nvPr userDrawn="1"/>
        </p:nvGrpSpPr>
        <p:grpSpPr>
          <a:xfrm>
            <a:off x="442261" y="3456849"/>
            <a:ext cx="11820484" cy="2970388"/>
            <a:chOff x="442260" y="3600153"/>
            <a:chExt cx="11820483" cy="2970388"/>
          </a:xfrm>
        </p:grpSpPr>
        <p:cxnSp>
          <p:nvCxnSpPr>
            <p:cNvPr id="7" name="Straight Connector 38">
              <a:extLst>
                <a:ext uri="{FF2B5EF4-FFF2-40B4-BE49-F238E27FC236}">
                  <a16:creationId xmlns:a16="http://schemas.microsoft.com/office/drawing/2014/main" id="{B5909EFF-FFE7-4DCA-BB35-2930538F8575}"/>
                </a:ext>
              </a:extLst>
            </p:cNvPr>
            <p:cNvCxnSpPr/>
            <p:nvPr userDrawn="1"/>
          </p:nvCxnSpPr>
          <p:spPr>
            <a:xfrm flipV="1">
              <a:off x="9302285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39">
              <a:extLst>
                <a:ext uri="{FF2B5EF4-FFF2-40B4-BE49-F238E27FC236}">
                  <a16:creationId xmlns:a16="http://schemas.microsoft.com/office/drawing/2014/main" id="{BBF66BD5-8EBB-4321-AEA7-778A769BCD0F}"/>
                </a:ext>
              </a:extLst>
            </p:cNvPr>
            <p:cNvCxnSpPr/>
            <p:nvPr userDrawn="1"/>
          </p:nvCxnSpPr>
          <p:spPr>
            <a:xfrm flipV="1">
              <a:off x="8773056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40">
              <a:extLst>
                <a:ext uri="{FF2B5EF4-FFF2-40B4-BE49-F238E27FC236}">
                  <a16:creationId xmlns:a16="http://schemas.microsoft.com/office/drawing/2014/main" id="{B6105F55-6F73-4EAC-A6FE-341C1EDD082D}"/>
                </a:ext>
              </a:extLst>
            </p:cNvPr>
            <p:cNvCxnSpPr/>
            <p:nvPr userDrawn="1"/>
          </p:nvCxnSpPr>
          <p:spPr>
            <a:xfrm flipV="1">
              <a:off x="8235524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41">
              <a:extLst>
                <a:ext uri="{FF2B5EF4-FFF2-40B4-BE49-F238E27FC236}">
                  <a16:creationId xmlns:a16="http://schemas.microsoft.com/office/drawing/2014/main" id="{231C4A1D-0D18-4C45-8CD2-9B482D211697}"/>
                </a:ext>
              </a:extLst>
            </p:cNvPr>
            <p:cNvCxnSpPr/>
            <p:nvPr userDrawn="1"/>
          </p:nvCxnSpPr>
          <p:spPr>
            <a:xfrm flipV="1">
              <a:off x="7866030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42">
              <a:extLst>
                <a:ext uri="{FF2B5EF4-FFF2-40B4-BE49-F238E27FC236}">
                  <a16:creationId xmlns:a16="http://schemas.microsoft.com/office/drawing/2014/main" id="{887B699A-26D9-4993-847C-C919922EE7EC}"/>
                </a:ext>
              </a:extLst>
            </p:cNvPr>
            <p:cNvCxnSpPr/>
            <p:nvPr userDrawn="1"/>
          </p:nvCxnSpPr>
          <p:spPr>
            <a:xfrm flipV="1">
              <a:off x="7498863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43">
              <a:extLst>
                <a:ext uri="{FF2B5EF4-FFF2-40B4-BE49-F238E27FC236}">
                  <a16:creationId xmlns:a16="http://schemas.microsoft.com/office/drawing/2014/main" id="{2861B340-F5C1-4BA1-BA98-8D650473066B}"/>
                </a:ext>
              </a:extLst>
            </p:cNvPr>
            <p:cNvCxnSpPr/>
            <p:nvPr userDrawn="1"/>
          </p:nvCxnSpPr>
          <p:spPr>
            <a:xfrm flipV="1">
              <a:off x="7127208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44">
              <a:extLst>
                <a:ext uri="{FF2B5EF4-FFF2-40B4-BE49-F238E27FC236}">
                  <a16:creationId xmlns:a16="http://schemas.microsoft.com/office/drawing/2014/main" id="{C3568F9F-131F-4452-A304-F5E5399BCD8C}"/>
                </a:ext>
              </a:extLst>
            </p:cNvPr>
            <p:cNvCxnSpPr/>
            <p:nvPr userDrawn="1"/>
          </p:nvCxnSpPr>
          <p:spPr>
            <a:xfrm flipV="1">
              <a:off x="6758651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45">
              <a:extLst>
                <a:ext uri="{FF2B5EF4-FFF2-40B4-BE49-F238E27FC236}">
                  <a16:creationId xmlns:a16="http://schemas.microsoft.com/office/drawing/2014/main" id="{CF836D01-B716-45B7-86B0-7412F0310BC3}"/>
                </a:ext>
              </a:extLst>
            </p:cNvPr>
            <p:cNvCxnSpPr/>
            <p:nvPr userDrawn="1"/>
          </p:nvCxnSpPr>
          <p:spPr>
            <a:xfrm flipV="1">
              <a:off x="6389469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46">
              <a:extLst>
                <a:ext uri="{FF2B5EF4-FFF2-40B4-BE49-F238E27FC236}">
                  <a16:creationId xmlns:a16="http://schemas.microsoft.com/office/drawing/2014/main" id="{456D7560-3022-407D-A56A-387D1CF7CBBE}"/>
                </a:ext>
              </a:extLst>
            </p:cNvPr>
            <p:cNvCxnSpPr/>
            <p:nvPr userDrawn="1"/>
          </p:nvCxnSpPr>
          <p:spPr>
            <a:xfrm flipV="1">
              <a:off x="6009868" y="3607282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47">
              <a:extLst>
                <a:ext uri="{FF2B5EF4-FFF2-40B4-BE49-F238E27FC236}">
                  <a16:creationId xmlns:a16="http://schemas.microsoft.com/office/drawing/2014/main" id="{C7A0A529-063D-45DD-8385-C74DBDC59E7E}"/>
                </a:ext>
              </a:extLst>
            </p:cNvPr>
            <p:cNvCxnSpPr/>
            <p:nvPr userDrawn="1"/>
          </p:nvCxnSpPr>
          <p:spPr>
            <a:xfrm flipV="1">
              <a:off x="5643989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48">
              <a:extLst>
                <a:ext uri="{FF2B5EF4-FFF2-40B4-BE49-F238E27FC236}">
                  <a16:creationId xmlns:a16="http://schemas.microsoft.com/office/drawing/2014/main" id="{A931E34D-B55F-40AD-83AF-7163B7D714F7}"/>
                </a:ext>
              </a:extLst>
            </p:cNvPr>
            <p:cNvCxnSpPr/>
            <p:nvPr userDrawn="1"/>
          </p:nvCxnSpPr>
          <p:spPr>
            <a:xfrm flipV="1">
              <a:off x="5269261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49">
              <a:extLst>
                <a:ext uri="{FF2B5EF4-FFF2-40B4-BE49-F238E27FC236}">
                  <a16:creationId xmlns:a16="http://schemas.microsoft.com/office/drawing/2014/main" id="{85C0AB43-36CD-4E1C-BBD6-F6E40C7E2D07}"/>
                </a:ext>
              </a:extLst>
            </p:cNvPr>
            <p:cNvCxnSpPr/>
            <p:nvPr userDrawn="1"/>
          </p:nvCxnSpPr>
          <p:spPr>
            <a:xfrm flipV="1">
              <a:off x="4889660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50">
              <a:extLst>
                <a:ext uri="{FF2B5EF4-FFF2-40B4-BE49-F238E27FC236}">
                  <a16:creationId xmlns:a16="http://schemas.microsoft.com/office/drawing/2014/main" id="{78CD91FC-28C9-4AC7-87D2-3236ADA79432}"/>
                </a:ext>
              </a:extLst>
            </p:cNvPr>
            <p:cNvCxnSpPr/>
            <p:nvPr userDrawn="1"/>
          </p:nvCxnSpPr>
          <p:spPr>
            <a:xfrm flipV="1">
              <a:off x="4523327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51">
              <a:extLst>
                <a:ext uri="{FF2B5EF4-FFF2-40B4-BE49-F238E27FC236}">
                  <a16:creationId xmlns:a16="http://schemas.microsoft.com/office/drawing/2014/main" id="{43CC5094-48A5-4786-A10E-9CE8FDA8F34F}"/>
                </a:ext>
              </a:extLst>
            </p:cNvPr>
            <p:cNvCxnSpPr/>
            <p:nvPr userDrawn="1"/>
          </p:nvCxnSpPr>
          <p:spPr>
            <a:xfrm flipV="1">
              <a:off x="4155926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52">
              <a:extLst>
                <a:ext uri="{FF2B5EF4-FFF2-40B4-BE49-F238E27FC236}">
                  <a16:creationId xmlns:a16="http://schemas.microsoft.com/office/drawing/2014/main" id="{B1CF75A4-9F1F-48F6-AFDA-C7897F2C1B55}"/>
                </a:ext>
              </a:extLst>
            </p:cNvPr>
            <p:cNvCxnSpPr/>
            <p:nvPr userDrawn="1"/>
          </p:nvCxnSpPr>
          <p:spPr>
            <a:xfrm flipV="1">
              <a:off x="3786582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53">
              <a:extLst>
                <a:ext uri="{FF2B5EF4-FFF2-40B4-BE49-F238E27FC236}">
                  <a16:creationId xmlns:a16="http://schemas.microsoft.com/office/drawing/2014/main" id="{D8B3EC32-3BCC-4CF3-A8AB-D5695C387FB1}"/>
                </a:ext>
              </a:extLst>
            </p:cNvPr>
            <p:cNvCxnSpPr/>
            <p:nvPr userDrawn="1"/>
          </p:nvCxnSpPr>
          <p:spPr>
            <a:xfrm flipV="1">
              <a:off x="3420490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54">
              <a:extLst>
                <a:ext uri="{FF2B5EF4-FFF2-40B4-BE49-F238E27FC236}">
                  <a16:creationId xmlns:a16="http://schemas.microsoft.com/office/drawing/2014/main" id="{646D2636-826F-4188-AECD-8E9F547C330E}"/>
                </a:ext>
              </a:extLst>
            </p:cNvPr>
            <p:cNvCxnSpPr/>
            <p:nvPr userDrawn="1"/>
          </p:nvCxnSpPr>
          <p:spPr>
            <a:xfrm flipV="1">
              <a:off x="3051095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55">
              <a:extLst>
                <a:ext uri="{FF2B5EF4-FFF2-40B4-BE49-F238E27FC236}">
                  <a16:creationId xmlns:a16="http://schemas.microsoft.com/office/drawing/2014/main" id="{D5190618-4665-4F2E-8844-020AD30239F6}"/>
                </a:ext>
              </a:extLst>
            </p:cNvPr>
            <p:cNvCxnSpPr/>
            <p:nvPr userDrawn="1"/>
          </p:nvCxnSpPr>
          <p:spPr>
            <a:xfrm flipV="1">
              <a:off x="2674287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56">
              <a:extLst>
                <a:ext uri="{FF2B5EF4-FFF2-40B4-BE49-F238E27FC236}">
                  <a16:creationId xmlns:a16="http://schemas.microsoft.com/office/drawing/2014/main" id="{E501E497-7672-440E-967B-911C1D6B4B10}"/>
                </a:ext>
              </a:extLst>
            </p:cNvPr>
            <p:cNvCxnSpPr/>
            <p:nvPr userDrawn="1"/>
          </p:nvCxnSpPr>
          <p:spPr>
            <a:xfrm flipV="1">
              <a:off x="2308530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57">
              <a:extLst>
                <a:ext uri="{FF2B5EF4-FFF2-40B4-BE49-F238E27FC236}">
                  <a16:creationId xmlns:a16="http://schemas.microsoft.com/office/drawing/2014/main" id="{8A688C29-83E0-4CC9-A8C5-B6B30A57710C}"/>
                </a:ext>
              </a:extLst>
            </p:cNvPr>
            <p:cNvCxnSpPr/>
            <p:nvPr userDrawn="1"/>
          </p:nvCxnSpPr>
          <p:spPr>
            <a:xfrm flipV="1">
              <a:off x="1931070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58">
              <a:extLst>
                <a:ext uri="{FF2B5EF4-FFF2-40B4-BE49-F238E27FC236}">
                  <a16:creationId xmlns:a16="http://schemas.microsoft.com/office/drawing/2014/main" id="{8D3348AE-2C08-472A-92E4-12BF79B738D1}"/>
                </a:ext>
              </a:extLst>
            </p:cNvPr>
            <p:cNvCxnSpPr/>
            <p:nvPr userDrawn="1"/>
          </p:nvCxnSpPr>
          <p:spPr>
            <a:xfrm flipV="1">
              <a:off x="1558445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59">
              <a:extLst>
                <a:ext uri="{FF2B5EF4-FFF2-40B4-BE49-F238E27FC236}">
                  <a16:creationId xmlns:a16="http://schemas.microsoft.com/office/drawing/2014/main" id="{D93531AE-9D57-49CA-BC46-F7384685F786}"/>
                </a:ext>
              </a:extLst>
            </p:cNvPr>
            <p:cNvCxnSpPr/>
            <p:nvPr userDrawn="1"/>
          </p:nvCxnSpPr>
          <p:spPr>
            <a:xfrm flipV="1">
              <a:off x="1188389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60">
              <a:extLst>
                <a:ext uri="{FF2B5EF4-FFF2-40B4-BE49-F238E27FC236}">
                  <a16:creationId xmlns:a16="http://schemas.microsoft.com/office/drawing/2014/main" id="{6130565B-76F2-434C-8896-54E337D6B462}"/>
                </a:ext>
              </a:extLst>
            </p:cNvPr>
            <p:cNvCxnSpPr/>
            <p:nvPr userDrawn="1"/>
          </p:nvCxnSpPr>
          <p:spPr>
            <a:xfrm flipV="1">
              <a:off x="814086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61">
              <a:extLst>
                <a:ext uri="{FF2B5EF4-FFF2-40B4-BE49-F238E27FC236}">
                  <a16:creationId xmlns:a16="http://schemas.microsoft.com/office/drawing/2014/main" id="{A0D45B84-40CC-46CF-ACE4-C3A1732817B3}"/>
                </a:ext>
              </a:extLst>
            </p:cNvPr>
            <p:cNvCxnSpPr/>
            <p:nvPr userDrawn="1"/>
          </p:nvCxnSpPr>
          <p:spPr>
            <a:xfrm flipV="1">
              <a:off x="442260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altLang="en-US" noProof="0"/>
              <a:t>CLICK TO EDIT MASTER TITLE STYLE</a:t>
            </a:r>
            <a:endParaRPr lang="en-US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009754-3A1E-461E-B289-FE7FC85C2E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001" y="882000"/>
            <a:ext cx="11732718" cy="5328000"/>
          </a:xfrm>
        </p:spPr>
        <p:txBody>
          <a:bodyPr/>
          <a:lstStyle>
            <a:lvl1pPr rtl="0">
              <a:defRPr sz="1795"/>
            </a:lvl1pPr>
            <a:lvl2pPr rtl="0">
              <a:defRPr sz="1795"/>
            </a:lvl2pPr>
            <a:lvl3pPr rtl="0">
              <a:defRPr sz="1795"/>
            </a:lvl3pPr>
            <a:lvl4pPr rtl="0">
              <a:defRPr sz="1795"/>
            </a:lvl4pPr>
            <a:lvl5pPr rtl="0">
              <a:defRPr sz="1795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47A283E-2E94-448F-92E5-2474B2498001}"/>
              </a:ext>
            </a:extLst>
          </p:cNvPr>
          <p:cNvCxnSpPr/>
          <p:nvPr userDrawn="1"/>
        </p:nvCxnSpPr>
        <p:spPr>
          <a:xfrm>
            <a:off x="217667" y="882193"/>
            <a:ext cx="11736308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FBE54681-4EF7-A845-F5FE-C4899188D90B}"/>
              </a:ext>
            </a:extLst>
          </p:cNvPr>
          <p:cNvSpPr txBox="1"/>
          <p:nvPr userDrawn="1"/>
        </p:nvSpPr>
        <p:spPr>
          <a:xfrm>
            <a:off x="10102514" y="6654558"/>
            <a:ext cx="2089486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/>
            <a:r>
              <a:rPr lang="en-US" sz="898" b="0" i="1">
                <a:solidFill>
                  <a:schemeClr val="bg1"/>
                </a:solidFill>
                <a:effectLst/>
                <a:latin typeface="+mn-lt"/>
              </a:rPr>
              <a:t>Contract ref. 4000140625/23/FR/MA</a:t>
            </a:r>
            <a:endParaRPr lang="en-US" sz="898" b="0" i="1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533884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D841832-B0D5-47A5-9D4C-CF4184366A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566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592" imgH="595" progId="TCLayout.ActiveDocument.1">
                  <p:embed/>
                </p:oleObj>
              </mc:Choice>
              <mc:Fallback>
                <p:oleObj name="Diapositive think-cell" r:id="rId3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D841832-B0D5-47A5-9D4C-CF4184366A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33D3CCAE-5E68-40B7-96F4-1867CB3C21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altLang="en-US" noProof="0"/>
              <a:t>CLICK TO EDIT MASTER TITLE STYLE</a:t>
            </a:r>
            <a:endParaRPr lang="en-US" noProof="0"/>
          </a:p>
        </p:txBody>
      </p:sp>
      <p:graphicFrame>
        <p:nvGraphicFramePr>
          <p:cNvPr id="3" name="Chart 62">
            <a:extLst>
              <a:ext uri="{FF2B5EF4-FFF2-40B4-BE49-F238E27FC236}">
                <a16:creationId xmlns:a16="http://schemas.microsoft.com/office/drawing/2014/main" id="{F74DFCCB-83DE-47F4-9FF3-8FAEE5BF92D8}"/>
              </a:ext>
            </a:extLst>
          </p:cNvPr>
          <p:cNvGraphicFramePr/>
          <p:nvPr userDrawn="1"/>
        </p:nvGraphicFramePr>
        <p:xfrm>
          <a:off x="278275" y="1321783"/>
          <a:ext cx="11624274" cy="46238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6" name="Chart 62">
            <a:extLst>
              <a:ext uri="{FF2B5EF4-FFF2-40B4-BE49-F238E27FC236}">
                <a16:creationId xmlns:a16="http://schemas.microsoft.com/office/drawing/2014/main" id="{1D3688BC-A29F-4FC4-A11A-398FE4188E1F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776204199"/>
              </p:ext>
            </p:extLst>
          </p:nvPr>
        </p:nvGraphicFramePr>
        <p:xfrm>
          <a:off x="277516" y="1348841"/>
          <a:ext cx="11592576" cy="47185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D8F5593-453E-4297-89C3-AF572A2F008F}"/>
              </a:ext>
            </a:extLst>
          </p:cNvPr>
          <p:cNvCxnSpPr/>
          <p:nvPr userDrawn="1"/>
        </p:nvCxnSpPr>
        <p:spPr>
          <a:xfrm>
            <a:off x="217667" y="882193"/>
            <a:ext cx="11736308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112114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300"/>
                                        <p:tgtEl>
                                          <p:spTgt spid="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300"/>
                            </p:stCondLst>
                            <p:childTnLst>
                              <p:par>
                                <p:cTn id="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300"/>
                                        <p:tgtEl>
                                          <p:spTgt spid="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600"/>
                            </p:stCondLst>
                            <p:childTnLst>
                              <p:par>
                                <p:cTn id="1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300"/>
                                        <p:tgtEl>
                                          <p:spTgt spid="6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900"/>
                            </p:stCondLst>
                            <p:childTnLst>
                              <p:par>
                                <p:cTn id="1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300"/>
                                        <p:tgtEl>
                                          <p:spTgt spid="6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200"/>
                            </p:stCondLst>
                            <p:childTnLst>
                              <p:par>
                                <p:cTn id="2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300"/>
                                        <p:tgtEl>
                                          <p:spTgt spid="6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300"/>
                                        <p:tgtEl>
                                          <p:spTgt spid="6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800"/>
                            </p:stCondLst>
                            <p:childTnLst>
                              <p:par>
                                <p:cTn id="2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300"/>
                                        <p:tgtEl>
                                          <p:spTgt spid="6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100"/>
                            </p:stCondLst>
                            <p:childTnLst>
                              <p:par>
                                <p:cTn id="3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300"/>
                                        <p:tgtEl>
                                          <p:spTgt spid="6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400"/>
                            </p:stCondLst>
                            <p:childTnLst>
                              <p:par>
                                <p:cTn id="3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300"/>
                                        <p:tgtEl>
                                          <p:spTgt spid="6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700"/>
                            </p:stCondLst>
                            <p:childTnLst>
                              <p:par>
                                <p:cTn id="4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300"/>
                                        <p:tgtEl>
                                          <p:spTgt spid="6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3000"/>
                            </p:stCondLst>
                            <p:childTnLst>
                              <p:par>
                                <p:cTn id="4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300"/>
                                        <p:tgtEl>
                                          <p:spTgt spid="6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300"/>
                            </p:stCondLst>
                            <p:childTnLst>
                              <p:par>
                                <p:cTn id="4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300"/>
                                        <p:tgtEl>
                                          <p:spTgt spid="6">
                                            <p:graphicEl>
                                              <a:chart seriesIdx="-4" categoryIdx="9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600"/>
                            </p:stCondLst>
                            <p:childTnLst>
                              <p:par>
                                <p:cTn id="5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300"/>
                                        <p:tgtEl>
                                          <p:spTgt spid="6">
                                            <p:graphicEl>
                                              <a:chart seriesIdx="-4" categoryIdx="1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900"/>
                            </p:stCondLst>
                            <p:childTnLst>
                              <p:par>
                                <p:cTn id="5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300"/>
                                        <p:tgtEl>
                                          <p:spTgt spid="6">
                                            <p:graphicEl>
                                              <a:chart seriesIdx="-4" categoryIdx="1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4200"/>
                            </p:stCondLst>
                            <p:childTnLst>
                              <p:par>
                                <p:cTn id="6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300"/>
                                        <p:tgtEl>
                                          <p:spTgt spid="6">
                                            <p:graphicEl>
                                              <a:chart seriesIdx="-4" categoryIdx="1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4500"/>
                            </p:stCondLst>
                            <p:childTnLst>
                              <p:par>
                                <p:cTn id="6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300"/>
                                        <p:tgtEl>
                                          <p:spTgt spid="6">
                                            <p:graphicEl>
                                              <a:chart seriesIdx="-4" categoryIdx="1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4800"/>
                            </p:stCondLst>
                            <p:childTnLst>
                              <p:par>
                                <p:cTn id="6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300"/>
                                        <p:tgtEl>
                                          <p:spTgt spid="6">
                                            <p:graphicEl>
                                              <a:chart seriesIdx="-4" categoryIdx="1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5100"/>
                            </p:stCondLst>
                            <p:childTnLst>
                              <p:par>
                                <p:cTn id="7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" dur="300"/>
                                        <p:tgtEl>
                                          <p:spTgt spid="6">
                                            <p:graphicEl>
                                              <a:chart seriesIdx="-4" categoryIdx="1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5400"/>
                            </p:stCondLst>
                            <p:childTnLst>
                              <p:par>
                                <p:cTn id="7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300"/>
                                        <p:tgtEl>
                                          <p:spTgt spid="6">
                                            <p:graphicEl>
                                              <a:chart seriesIdx="-4" categoryIdx="1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700"/>
                            </p:stCondLst>
                            <p:childTnLst>
                              <p:par>
                                <p:cTn id="8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" dur="300"/>
                                        <p:tgtEl>
                                          <p:spTgt spid="6">
                                            <p:graphicEl>
                                              <a:chart seriesIdx="-4" categoryIdx="1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6000"/>
                            </p:stCondLst>
                            <p:childTnLst>
                              <p:par>
                                <p:cTn id="8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300"/>
                                        <p:tgtEl>
                                          <p:spTgt spid="6">
                                            <p:graphicEl>
                                              <a:chart seriesIdx="-4" categoryIdx="1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6300"/>
                            </p:stCondLst>
                            <p:childTnLst>
                              <p:par>
                                <p:cTn id="8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1" dur="300"/>
                                        <p:tgtEl>
                                          <p:spTgt spid="6">
                                            <p:graphicEl>
                                              <a:chart seriesIdx="-4" categoryIdx="19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6600"/>
                            </p:stCondLst>
                            <p:childTnLst>
                              <p:par>
                                <p:cTn id="9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2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5" dur="300"/>
                                        <p:tgtEl>
                                          <p:spTgt spid="6">
                                            <p:graphicEl>
                                              <a:chart seriesIdx="-4" categoryIdx="2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6900"/>
                            </p:stCondLst>
                            <p:childTnLst>
                              <p:par>
                                <p:cTn id="9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2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9" dur="300"/>
                                        <p:tgtEl>
                                          <p:spTgt spid="6">
                                            <p:graphicEl>
                                              <a:chart seriesIdx="-4" categoryIdx="2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7200"/>
                            </p:stCondLst>
                            <p:childTnLst>
                              <p:par>
                                <p:cTn id="10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2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3" dur="300"/>
                                        <p:tgtEl>
                                          <p:spTgt spid="6">
                                            <p:graphicEl>
                                              <a:chart seriesIdx="-4" categoryIdx="2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7500"/>
                            </p:stCondLst>
                            <p:childTnLst>
                              <p:par>
                                <p:cTn id="10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2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7" dur="300"/>
                                        <p:tgtEl>
                                          <p:spTgt spid="6">
                                            <p:graphicEl>
                                              <a:chart seriesIdx="-4" categoryIdx="2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Sub>
          <a:bldChart bld="category"/>
        </p:bldSub>
      </p:bldGraphic>
      <p:bldGraphic spid="6" grpId="0">
        <p:bldSub>
          <a:bldChart bld="category"/>
        </p:bldSub>
      </p:bldGraphic>
    </p:bld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5.png"/><Relationship Id="rId5" Type="http://schemas.openxmlformats.org/officeDocument/2006/relationships/tags" Target="../tags/tag2.xml"/><Relationship Id="rId10" Type="http://schemas.openxmlformats.org/officeDocument/2006/relationships/image" Target="../media/image4.emf"/><Relationship Id="rId4" Type="http://schemas.openxmlformats.org/officeDocument/2006/relationships/theme" Target="../theme/theme1.xml"/><Relationship Id="rId9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18" Type="http://schemas.openxmlformats.org/officeDocument/2006/relationships/theme" Target="../theme/theme2.xml"/><Relationship Id="rId26" Type="http://schemas.openxmlformats.org/officeDocument/2006/relationships/image" Target="../media/image5.png"/><Relationship Id="rId3" Type="http://schemas.openxmlformats.org/officeDocument/2006/relationships/slideLayout" Target="../slideLayouts/slideLayout6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17" Type="http://schemas.openxmlformats.org/officeDocument/2006/relationships/slideLayout" Target="../slideLayouts/slideLayout20.xml"/><Relationship Id="rId25" Type="http://schemas.openxmlformats.org/officeDocument/2006/relationships/image" Target="../media/image4.emf"/><Relationship Id="rId2" Type="http://schemas.openxmlformats.org/officeDocument/2006/relationships/slideLayout" Target="../slideLayouts/slideLayout5.xml"/><Relationship Id="rId16" Type="http://schemas.openxmlformats.org/officeDocument/2006/relationships/slideLayout" Target="../slideLayouts/slideLayout19.xml"/><Relationship Id="rId20" Type="http://schemas.openxmlformats.org/officeDocument/2006/relationships/oleObject" Target="../embeddings/oleObject4.bin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24" Type="http://schemas.openxmlformats.org/officeDocument/2006/relationships/image" Target="../media/image9.png"/><Relationship Id="rId5" Type="http://schemas.openxmlformats.org/officeDocument/2006/relationships/slideLayout" Target="../slideLayouts/slideLayout8.xml"/><Relationship Id="rId15" Type="http://schemas.openxmlformats.org/officeDocument/2006/relationships/slideLayout" Target="../slideLayouts/slideLayout18.xml"/><Relationship Id="rId23" Type="http://schemas.openxmlformats.org/officeDocument/2006/relationships/image" Target="../media/image12.jpeg"/><Relationship Id="rId10" Type="http://schemas.openxmlformats.org/officeDocument/2006/relationships/slideLayout" Target="../slideLayouts/slideLayout13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slideLayout" Target="../slideLayouts/slideLayout17.xml"/><Relationship Id="rId22" Type="http://schemas.openxmlformats.org/officeDocument/2006/relationships/image" Target="../media/image8.png"/><Relationship Id="rId27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theme" Target="../theme/theme3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2.xml"/><Relationship Id="rId16" Type="http://schemas.openxmlformats.org/officeDocument/2006/relationships/image" Target="../media/image1.emf"/><Relationship Id="rId20" Type="http://schemas.openxmlformats.org/officeDocument/2006/relationships/image" Target="../media/image5.png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oleObject" Target="../embeddings/oleObject22.bin"/><Relationship Id="rId10" Type="http://schemas.openxmlformats.org/officeDocument/2006/relationships/slideLayout" Target="../slideLayouts/slideLayout30.xml"/><Relationship Id="rId19" Type="http://schemas.openxmlformats.org/officeDocument/2006/relationships/image" Target="../media/image4.emf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tags" Target="../tags/tag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B59C607-49DF-7E2F-5597-C28204B5B9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250411037"/>
              </p:ext>
            </p:extLst>
          </p:nvPr>
        </p:nvGraphicFramePr>
        <p:xfrm>
          <a:off x="1584" y="1588"/>
          <a:ext cx="158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6" imgW="484" imgH="486" progId="TCLayout.ActiveDocument.1">
                  <p:embed/>
                </p:oleObj>
              </mc:Choice>
              <mc:Fallback>
                <p:oleObj name="Diapositive think-cell" r:id="rId6" imgW="484" imgH="4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B59C607-49DF-7E2F-5597-C28204B5B9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4" y="1588"/>
                        <a:ext cx="158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Box DG"/>
          <p:cNvSpPr txBox="1">
            <a:spLocks noChangeArrowheads="1"/>
          </p:cNvSpPr>
          <p:nvPr userDrawn="1"/>
        </p:nvSpPr>
        <p:spPr bwMode="auto">
          <a:xfrm>
            <a:off x="770887" y="447366"/>
            <a:ext cx="6688666" cy="211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rtl="0">
              <a:spcBef>
                <a:spcPct val="50000"/>
              </a:spcBef>
            </a:pPr>
            <a:endParaRPr lang="en-US" sz="770" noProof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215411" y="154800"/>
            <a:ext cx="10081234" cy="5652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l" rtl="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en-US" noProof="0"/>
              <a:t>CLICK TO EDIT MASTER TITLE STYLE</a:t>
            </a:r>
            <a:endParaRPr lang="en-US" noProof="0"/>
          </a:p>
        </p:txBody>
      </p:sp>
      <p:sp>
        <p:nvSpPr>
          <p:cNvPr id="63" name="Rectangle 2">
            <a:extLst>
              <a:ext uri="{FF2B5EF4-FFF2-40B4-BE49-F238E27FC236}">
                <a16:creationId xmlns:a16="http://schemas.microsoft.com/office/drawing/2014/main" id="{0341B57B-D657-44D2-A69B-8571F2FEB2F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219001" y="882000"/>
            <a:ext cx="11732718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noProof="0"/>
              <a:t>Click to edit Master text styles</a:t>
            </a:r>
          </a:p>
          <a:p>
            <a:pPr lvl="1"/>
            <a:r>
              <a:rPr lang="en-US" altLang="en-US" noProof="0"/>
              <a:t>Second level</a:t>
            </a:r>
          </a:p>
          <a:p>
            <a:pPr lvl="2"/>
            <a:r>
              <a:rPr lang="en-US" altLang="en-US" noProof="0"/>
              <a:t>Third level</a:t>
            </a:r>
          </a:p>
          <a:p>
            <a:pPr lvl="3"/>
            <a:r>
              <a:rPr lang="en-US" altLang="en-US" noProof="0"/>
              <a:t>Fourth level</a:t>
            </a:r>
          </a:p>
          <a:p>
            <a:pPr lvl="4"/>
            <a:r>
              <a:rPr lang="en-US" altLang="en-US" noProof="0"/>
              <a:t>Fifth level</a:t>
            </a:r>
          </a:p>
        </p:txBody>
      </p:sp>
      <p:sp>
        <p:nvSpPr>
          <p:cNvPr id="67" name="Text Box DG">
            <a:extLst>
              <a:ext uri="{FF2B5EF4-FFF2-40B4-BE49-F238E27FC236}">
                <a16:creationId xmlns:a16="http://schemas.microsoft.com/office/drawing/2014/main" id="{041D4B4D-8C28-4798-BDA6-9AF59297F35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70887" y="447366"/>
            <a:ext cx="6688666" cy="211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rtl="0">
              <a:spcBef>
                <a:spcPct val="50000"/>
              </a:spcBef>
            </a:pPr>
            <a:endParaRPr lang="en-US" sz="770" noProof="0"/>
          </a:p>
        </p:txBody>
      </p:sp>
      <p:sp>
        <p:nvSpPr>
          <p:cNvPr id="14" name="Text Box 38"/>
          <p:cNvSpPr txBox="1">
            <a:spLocks noChangeArrowheads="1"/>
          </p:cNvSpPr>
          <p:nvPr userDrawn="1"/>
        </p:nvSpPr>
        <p:spPr bwMode="auto">
          <a:xfrm>
            <a:off x="220801" y="6202800"/>
            <a:ext cx="12085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>
            <a:spAutoFit/>
          </a:bodyPr>
          <a:lstStyle/>
          <a:p>
            <a:pPr algn="l" rtl="0">
              <a:spcBef>
                <a:spcPct val="50000"/>
              </a:spcBef>
            </a:pPr>
            <a:r>
              <a:rPr lang="en-US" sz="798" noProof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" name="Text Box 34">
            <a:extLst>
              <a:ext uri="{FF2B5EF4-FFF2-40B4-BE49-F238E27FC236}">
                <a16:creationId xmlns:a16="http://schemas.microsoft.com/office/drawing/2014/main" id="{06E20340-F309-4C15-A091-9346422556E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590214" y="6202801"/>
            <a:ext cx="332784" cy="2151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Ins="0">
            <a:spAutoFit/>
          </a:bodyPr>
          <a:lstStyle/>
          <a:p>
            <a:pPr algn="r" rtl="0">
              <a:spcBef>
                <a:spcPct val="50000"/>
              </a:spcBef>
            </a:pPr>
            <a:r>
              <a:rPr lang="en-US" sz="798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fld id="{FDAC5C42-9B53-4063-AF51-A40D4C64F718}" type="slidenum">
              <a:rPr lang="en-US" sz="798" noProof="1" smtClean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rtl="0">
                <a:spcBef>
                  <a:spcPct val="50000"/>
                </a:spcBef>
              </a:pPr>
              <a:t>‹#›</a:t>
            </a:fld>
            <a:endParaRPr lang="en-US" sz="798" noProof="1">
              <a:solidFill>
                <a:srgbClr val="8197A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AA5060D9-A09D-4130-9267-1E715CE49C5B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5039" y="6585917"/>
            <a:ext cx="1632456" cy="105918"/>
          </a:xfrm>
          <a:prstGeom prst="rect">
            <a:avLst/>
          </a:prstGeom>
        </p:spPr>
      </p:pic>
      <p:pic>
        <p:nvPicPr>
          <p:cNvPr id="94" name="Picture 93">
            <a:extLst>
              <a:ext uri="{FF2B5EF4-FFF2-40B4-BE49-F238E27FC236}">
                <a16:creationId xmlns:a16="http://schemas.microsoft.com/office/drawing/2014/main" id="{4732B035-7DC9-457A-B11E-1F17E69F566A}"/>
              </a:ext>
            </a:extLst>
          </p:cNvPr>
          <p:cNvPicPr>
            <a:picLocks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0513" y="-103716"/>
            <a:ext cx="1823215" cy="1146552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8444" y="6455517"/>
            <a:ext cx="9929648" cy="405130"/>
          </a:xfrm>
          <a:prstGeom prst="rect">
            <a:avLst/>
          </a:prstGeom>
        </p:spPr>
      </p:pic>
      <p:pic>
        <p:nvPicPr>
          <p:cNvPr id="3074" name="Picture 2" descr="PricewaterhouseCoopers – Wikipedia">
            <a:extLst>
              <a:ext uri="{FF2B5EF4-FFF2-40B4-BE49-F238E27FC236}">
                <a16:creationId xmlns:a16="http://schemas.microsoft.com/office/drawing/2014/main" id="{F40486AF-3EF4-58D7-594D-47EC3436C5B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0505" y="264179"/>
            <a:ext cx="455352" cy="346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D7601B0-EE3D-FDF1-2F1A-05FC38FCD44B}"/>
              </a:ext>
            </a:extLst>
          </p:cNvPr>
          <p:cNvCxnSpPr/>
          <p:nvPr userDrawn="1"/>
        </p:nvCxnSpPr>
        <p:spPr>
          <a:xfrm>
            <a:off x="11444510" y="87366"/>
            <a:ext cx="0" cy="72000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65840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</p:sldLayoutIdLst>
  <p:hf sldNum="0" hdr="0" dt="0"/>
  <p:txStyles>
    <p:titleStyle>
      <a:lvl1pPr algn="just" rtl="0" fontAlgn="base">
        <a:spcBef>
          <a:spcPct val="0"/>
        </a:spcBef>
        <a:spcAft>
          <a:spcPct val="0"/>
        </a:spcAft>
        <a:defRPr lang="en-GB" sz="2992" b="1" dirty="0" smtClean="0">
          <a:solidFill>
            <a:srgbClr val="003249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116" b="1">
          <a:solidFill>
            <a:schemeClr val="bg1"/>
          </a:solidFill>
          <a:latin typeface="Verdana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116" b="1">
          <a:solidFill>
            <a:schemeClr val="bg1"/>
          </a:solidFill>
          <a:latin typeface="Verdana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116" b="1">
          <a:solidFill>
            <a:schemeClr val="bg1"/>
          </a:solidFill>
          <a:latin typeface="Verdana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116" b="1">
          <a:solidFill>
            <a:schemeClr val="bg1"/>
          </a:solidFill>
          <a:latin typeface="Verdana" pitchFamily="34" charset="0"/>
        </a:defRPr>
      </a:lvl5pPr>
      <a:lvl6pPr marL="439824" algn="l" rtl="0" fontAlgn="base">
        <a:spcBef>
          <a:spcPct val="0"/>
        </a:spcBef>
        <a:spcAft>
          <a:spcPct val="0"/>
        </a:spcAft>
        <a:defRPr sz="2116" b="1">
          <a:solidFill>
            <a:schemeClr val="bg1"/>
          </a:solidFill>
          <a:latin typeface="Verdana" pitchFamily="34" charset="0"/>
        </a:defRPr>
      </a:lvl6pPr>
      <a:lvl7pPr marL="879649" algn="l" rtl="0" fontAlgn="base">
        <a:spcBef>
          <a:spcPct val="0"/>
        </a:spcBef>
        <a:spcAft>
          <a:spcPct val="0"/>
        </a:spcAft>
        <a:defRPr sz="2116" b="1">
          <a:solidFill>
            <a:schemeClr val="bg1"/>
          </a:solidFill>
          <a:latin typeface="Verdana" pitchFamily="34" charset="0"/>
        </a:defRPr>
      </a:lvl7pPr>
      <a:lvl8pPr marL="1319473" algn="l" rtl="0" fontAlgn="base">
        <a:spcBef>
          <a:spcPct val="0"/>
        </a:spcBef>
        <a:spcAft>
          <a:spcPct val="0"/>
        </a:spcAft>
        <a:defRPr sz="2116" b="1">
          <a:solidFill>
            <a:schemeClr val="bg1"/>
          </a:solidFill>
          <a:latin typeface="Verdana" pitchFamily="34" charset="0"/>
        </a:defRPr>
      </a:lvl8pPr>
      <a:lvl9pPr marL="1759297" algn="l" rtl="0" fontAlgn="base">
        <a:spcBef>
          <a:spcPct val="0"/>
        </a:spcBef>
        <a:spcAft>
          <a:spcPct val="0"/>
        </a:spcAft>
        <a:defRPr sz="2116" b="1">
          <a:solidFill>
            <a:schemeClr val="bg1"/>
          </a:solidFill>
          <a:latin typeface="Verdana" pitchFamily="34" charset="0"/>
        </a:defRPr>
      </a:lvl9pPr>
    </p:titleStyle>
    <p:bodyStyle>
      <a:lvl1pPr marL="0" indent="0" algn="l" rtl="0" eaLnBrk="0" fontAlgn="base" hangingPunct="0">
        <a:lnSpc>
          <a:spcPct val="119000"/>
        </a:lnSpc>
        <a:spcBef>
          <a:spcPct val="20000"/>
        </a:spcBef>
        <a:spcAft>
          <a:spcPct val="0"/>
        </a:spcAft>
        <a:buClr>
          <a:srgbClr val="8197A6"/>
        </a:buClr>
        <a:buFont typeface="Arial" panose="020B0604020202020204" pitchFamily="34" charset="0"/>
        <a:buNone/>
        <a:defRPr lang="en-US" altLang="en-US" sz="1795" dirty="0">
          <a:solidFill>
            <a:srgbClr val="8197A6"/>
          </a:solidFill>
          <a:latin typeface="Arial" panose="020B0604020202020204" pitchFamily="34" charset="0"/>
          <a:ea typeface="MS PGothic" pitchFamily="34" charset="-128"/>
          <a:cs typeface="Arial" panose="020B0604020202020204" pitchFamily="34" charset="0"/>
        </a:defRPr>
      </a:lvl1pPr>
      <a:lvl2pPr marL="779216" indent="0" algn="l" rtl="0" eaLnBrk="0" fontAlgn="base" hangingPunct="0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US" altLang="en-US" sz="1795" dirty="0">
          <a:solidFill>
            <a:srgbClr val="8197A6"/>
          </a:solidFill>
          <a:latin typeface="Arial" panose="020B0604020202020204" pitchFamily="34" charset="0"/>
          <a:ea typeface="MS PGothic" pitchFamily="34" charset="-128"/>
          <a:cs typeface="Arial" panose="020B0604020202020204" pitchFamily="34" charset="0"/>
        </a:defRPr>
      </a:lvl2pPr>
      <a:lvl3pPr marL="1354105" indent="0" algn="l" rtl="0" eaLnBrk="0" fontAlgn="base" hangingPunct="0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US" altLang="en-US" sz="1795" dirty="0">
          <a:solidFill>
            <a:srgbClr val="8197A6"/>
          </a:solidFill>
          <a:latin typeface="Arial" panose="020B0604020202020204" pitchFamily="34" charset="0"/>
          <a:ea typeface="MS PGothic" pitchFamily="34" charset="-128"/>
          <a:cs typeface="Arial" panose="020B0604020202020204" pitchFamily="34" charset="0"/>
        </a:defRPr>
      </a:lvl3pPr>
      <a:lvl4pPr marL="1928994" indent="0" algn="l" rtl="0" eaLnBrk="0" fontAlgn="base" hangingPunct="0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US" altLang="en-US" sz="1795" dirty="0">
          <a:solidFill>
            <a:srgbClr val="8197A6"/>
          </a:solidFill>
          <a:latin typeface="Arial" charset="0"/>
          <a:ea typeface="MS PGothic" pitchFamily="34" charset="-128"/>
          <a:cs typeface="Arial" charset="0"/>
        </a:defRPr>
      </a:lvl4pPr>
      <a:lvl5pPr marL="2503882" indent="0" algn="l" rtl="0" eaLnBrk="0" fontAlgn="base" hangingPunct="0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GB" altLang="en-US" sz="1795" dirty="0">
          <a:solidFill>
            <a:srgbClr val="8197A6"/>
          </a:solidFill>
          <a:latin typeface="Arial" charset="0"/>
          <a:ea typeface="MS PGothic" pitchFamily="34" charset="-128"/>
          <a:cs typeface="Arial" charset="0"/>
        </a:defRPr>
      </a:lvl5pPr>
      <a:lvl6pPr marL="3347552" indent="-403172" algn="l" rtl="0" fontAlgn="base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39">
          <a:solidFill>
            <a:schemeClr val="bg2"/>
          </a:solidFill>
          <a:latin typeface="+mn-lt"/>
        </a:defRPr>
      </a:lvl6pPr>
      <a:lvl7pPr marL="3787376" indent="-403172" algn="l" rtl="0" fontAlgn="base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39">
          <a:solidFill>
            <a:schemeClr val="bg2"/>
          </a:solidFill>
          <a:latin typeface="+mn-lt"/>
        </a:defRPr>
      </a:lvl7pPr>
      <a:lvl8pPr marL="4227201" indent="-403172" algn="l" rtl="0" fontAlgn="base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39">
          <a:solidFill>
            <a:schemeClr val="bg2"/>
          </a:solidFill>
          <a:latin typeface="+mn-lt"/>
        </a:defRPr>
      </a:lvl8pPr>
      <a:lvl9pPr marL="4667025" indent="-403172" algn="l" rtl="0" fontAlgn="base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39">
          <a:solidFill>
            <a:schemeClr val="bg2"/>
          </a:solidFill>
          <a:latin typeface="+mn-lt"/>
        </a:defRPr>
      </a:lvl9pPr>
    </p:bodyStyle>
    <p:otherStyle>
      <a:defPPr>
        <a:defRPr lang="en-US"/>
      </a:defPPr>
      <a:lvl1pPr marL="0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1pPr>
      <a:lvl2pPr marL="439824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2pPr>
      <a:lvl3pPr marL="879649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3pPr>
      <a:lvl4pPr marL="1319473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4pPr>
      <a:lvl5pPr marL="1759297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5pPr>
      <a:lvl6pPr marL="2199122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6pPr>
      <a:lvl7pPr marL="2638947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7pPr>
      <a:lvl8pPr marL="3078771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8pPr>
      <a:lvl9pPr marL="3518595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5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532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0BC375-EE14-E682-90EE-7128B86A9C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995741218"/>
              </p:ext>
            </p:extLst>
          </p:nvPr>
        </p:nvGraphicFramePr>
        <p:xfrm>
          <a:off x="1584" y="1588"/>
          <a:ext cx="158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20" imgW="484" imgH="486" progId="TCLayout.ActiveDocument.1">
                  <p:embed/>
                </p:oleObj>
              </mc:Choice>
              <mc:Fallback>
                <p:oleObj name="Diapositive think-cell" r:id="rId20" imgW="484" imgH="4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0BC375-EE14-E682-90EE-7128B86A9C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4" y="1588"/>
                        <a:ext cx="158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42F82C10-FE4C-447F-DEE3-4E7847C394E0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40514" y="-103716"/>
            <a:ext cx="1822077" cy="1146552"/>
          </a:xfrm>
          <a:prstGeom prst="rect">
            <a:avLst/>
          </a:prstGeom>
        </p:spPr>
      </p:pic>
      <p:sp>
        <p:nvSpPr>
          <p:cNvPr id="14" name="Text Box 38"/>
          <p:cNvSpPr txBox="1">
            <a:spLocks noChangeArrowheads="1"/>
          </p:cNvSpPr>
          <p:nvPr userDrawn="1"/>
        </p:nvSpPr>
        <p:spPr bwMode="auto">
          <a:xfrm>
            <a:off x="220801" y="6202800"/>
            <a:ext cx="12085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>
            <a:spAutoFit/>
          </a:bodyPr>
          <a:lstStyle/>
          <a:p>
            <a:pPr algn="l" rtl="0">
              <a:spcBef>
                <a:spcPct val="50000"/>
              </a:spcBef>
            </a:pPr>
            <a:r>
              <a:rPr lang="en-US" sz="798" noProof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3" name="Picture 35" hidden="1">
            <a:extLst>
              <a:ext uri="{FF2B5EF4-FFF2-40B4-BE49-F238E27FC236}">
                <a16:creationId xmlns:a16="http://schemas.microsoft.com/office/drawing/2014/main" id="{C995CFAD-3BA1-4EC9-867D-60423D76AD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 Box DG"/>
          <p:cNvSpPr txBox="1">
            <a:spLocks noChangeArrowheads="1"/>
          </p:cNvSpPr>
          <p:nvPr userDrawn="1"/>
        </p:nvSpPr>
        <p:spPr bwMode="auto">
          <a:xfrm>
            <a:off x="770887" y="447366"/>
            <a:ext cx="6688666" cy="211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rtl="0">
              <a:spcBef>
                <a:spcPct val="50000"/>
              </a:spcBef>
            </a:pPr>
            <a:endParaRPr lang="en-US" sz="770" noProof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215411" y="154800"/>
            <a:ext cx="10081234" cy="5652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l" rtl="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en-US" noProof="0"/>
              <a:t>Click to edit Master title style</a:t>
            </a:r>
            <a:endParaRPr lang="en-US" noProof="0"/>
          </a:p>
        </p:txBody>
      </p:sp>
      <p:sp>
        <p:nvSpPr>
          <p:cNvPr id="72" name="Rectangle 2">
            <a:extLst>
              <a:ext uri="{FF2B5EF4-FFF2-40B4-BE49-F238E27FC236}">
                <a16:creationId xmlns:a16="http://schemas.microsoft.com/office/drawing/2014/main" id="{F152A04D-5063-4E95-9CB5-5C50E37A6E5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219001" y="882000"/>
            <a:ext cx="11732718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noProof="0"/>
              <a:t>Click to edit Master text styles</a:t>
            </a:r>
          </a:p>
          <a:p>
            <a:pPr lvl="1"/>
            <a:r>
              <a:rPr lang="en-US" altLang="en-US" noProof="0"/>
              <a:t>Second level</a:t>
            </a:r>
          </a:p>
          <a:p>
            <a:pPr lvl="2"/>
            <a:r>
              <a:rPr lang="en-US" altLang="en-US" noProof="0"/>
              <a:t>Third level</a:t>
            </a:r>
          </a:p>
          <a:p>
            <a:pPr lvl="3"/>
            <a:r>
              <a:rPr lang="en-US" altLang="en-US" noProof="0"/>
              <a:t>Fourth level</a:t>
            </a:r>
          </a:p>
          <a:p>
            <a:pPr lvl="4"/>
            <a:r>
              <a:rPr lang="en-US" altLang="en-US" noProof="0"/>
              <a:t>Fifth level</a:t>
            </a:r>
          </a:p>
        </p:txBody>
      </p:sp>
      <p:sp>
        <p:nvSpPr>
          <p:cNvPr id="39" name="Text Box 34"/>
          <p:cNvSpPr txBox="1">
            <a:spLocks noChangeArrowheads="1"/>
          </p:cNvSpPr>
          <p:nvPr userDrawn="1"/>
        </p:nvSpPr>
        <p:spPr bwMode="auto">
          <a:xfrm>
            <a:off x="11590214" y="6202801"/>
            <a:ext cx="332784" cy="2151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Ins="0">
            <a:spAutoFit/>
          </a:bodyPr>
          <a:lstStyle/>
          <a:p>
            <a:pPr algn="r" rtl="0">
              <a:spcBef>
                <a:spcPct val="50000"/>
              </a:spcBef>
            </a:pPr>
            <a:r>
              <a:rPr lang="en-US" sz="798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fld id="{FDAC5C42-9B53-4063-AF51-A40D4C64F718}" type="slidenum">
              <a:rPr lang="en-US" sz="798" noProof="1" smtClean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rtl="0">
                <a:spcBef>
                  <a:spcPct val="50000"/>
                </a:spcBef>
              </a:pPr>
              <a:t>‹#›</a:t>
            </a:fld>
            <a:endParaRPr lang="en-US" sz="798" noProof="1">
              <a:solidFill>
                <a:srgbClr val="8197A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E71E5B5-6921-4FB2-A9C4-9C2A029FF0B3}"/>
              </a:ext>
            </a:extLst>
          </p:cNvPr>
          <p:cNvCxnSpPr>
            <a:cxnSpLocks/>
          </p:cNvCxnSpPr>
          <p:nvPr userDrawn="1"/>
        </p:nvCxnSpPr>
        <p:spPr>
          <a:xfrm>
            <a:off x="220831" y="6422971"/>
            <a:ext cx="11703996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Picture 5">
            <a:extLst>
              <a:ext uri="{FF2B5EF4-FFF2-40B4-BE49-F238E27FC236}">
                <a16:creationId xmlns:a16="http://schemas.microsoft.com/office/drawing/2014/main" id="{7B88B654-6870-4EB8-A79A-306A0238640A}"/>
              </a:ext>
            </a:extLst>
          </p:cNvPr>
          <p:cNvPicPr>
            <a:picLocks/>
          </p:cNvPicPr>
          <p:nvPr userDrawn="1"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14596" y="6584400"/>
            <a:ext cx="1633533" cy="104400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452225"/>
            <a:ext cx="9929648" cy="40513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BEA0F55-5564-6337-2E24-8453B9CD6674}"/>
              </a:ext>
            </a:extLst>
          </p:cNvPr>
          <p:cNvSpPr txBox="1"/>
          <p:nvPr userDrawn="1"/>
        </p:nvSpPr>
        <p:spPr>
          <a:xfrm>
            <a:off x="10102514" y="6654558"/>
            <a:ext cx="2089486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/>
            <a:r>
              <a:rPr lang="en-US" sz="898" b="0" i="1">
                <a:solidFill>
                  <a:schemeClr val="bg1"/>
                </a:solidFill>
                <a:effectLst/>
                <a:latin typeface="+mn-lt"/>
              </a:rPr>
              <a:t>Contract ref. 4000140625/23/FR/MA</a:t>
            </a:r>
            <a:endParaRPr lang="en-US" sz="898" b="0" i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7" name="Picture 2" descr="PricewaterhouseCoopers – Wikipedia">
            <a:extLst>
              <a:ext uri="{FF2B5EF4-FFF2-40B4-BE49-F238E27FC236}">
                <a16:creationId xmlns:a16="http://schemas.microsoft.com/office/drawing/2014/main" id="{806EC12A-BF0D-17B7-1BEF-49A58D5DF87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6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3775" b="-6731"/>
          <a:stretch/>
        </p:blipFill>
        <p:spPr bwMode="auto">
          <a:xfrm>
            <a:off x="11526321" y="270015"/>
            <a:ext cx="472538" cy="369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8166A35-3B3F-DA98-B219-7D8E5EADD94A}"/>
              </a:ext>
            </a:extLst>
          </p:cNvPr>
          <p:cNvPicPr>
            <a:picLocks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85558" y="1794916"/>
            <a:ext cx="1823215" cy="1146552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1A8DBDE-54D2-BC09-89AA-226A12429C37}"/>
              </a:ext>
            </a:extLst>
          </p:cNvPr>
          <p:cNvCxnSpPr/>
          <p:nvPr userDrawn="1"/>
        </p:nvCxnSpPr>
        <p:spPr>
          <a:xfrm>
            <a:off x="11444510" y="87366"/>
            <a:ext cx="0" cy="720000"/>
          </a:xfrm>
          <a:prstGeom prst="line">
            <a:avLst/>
          </a:prstGeom>
          <a:ln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38939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992" b="1" dirty="0" smtClean="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116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116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116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116" b="1">
          <a:solidFill>
            <a:schemeClr val="bg1"/>
          </a:solidFill>
          <a:latin typeface="Verdana" pitchFamily="34" charset="0"/>
        </a:defRPr>
      </a:lvl5pPr>
      <a:lvl6pPr marL="439824" algn="l" rtl="0" eaLnBrk="1" fontAlgn="base" hangingPunct="1">
        <a:spcBef>
          <a:spcPct val="0"/>
        </a:spcBef>
        <a:spcAft>
          <a:spcPct val="0"/>
        </a:spcAft>
        <a:defRPr sz="2116" b="1">
          <a:solidFill>
            <a:schemeClr val="bg1"/>
          </a:solidFill>
          <a:latin typeface="Verdana" pitchFamily="34" charset="0"/>
        </a:defRPr>
      </a:lvl6pPr>
      <a:lvl7pPr marL="879649" algn="l" rtl="0" eaLnBrk="1" fontAlgn="base" hangingPunct="1">
        <a:spcBef>
          <a:spcPct val="0"/>
        </a:spcBef>
        <a:spcAft>
          <a:spcPct val="0"/>
        </a:spcAft>
        <a:defRPr sz="2116" b="1">
          <a:solidFill>
            <a:schemeClr val="bg1"/>
          </a:solidFill>
          <a:latin typeface="Verdana" pitchFamily="34" charset="0"/>
        </a:defRPr>
      </a:lvl7pPr>
      <a:lvl8pPr marL="1319473" algn="l" rtl="0" eaLnBrk="1" fontAlgn="base" hangingPunct="1">
        <a:spcBef>
          <a:spcPct val="0"/>
        </a:spcBef>
        <a:spcAft>
          <a:spcPct val="0"/>
        </a:spcAft>
        <a:defRPr sz="2116" b="1">
          <a:solidFill>
            <a:schemeClr val="bg1"/>
          </a:solidFill>
          <a:latin typeface="Verdana" pitchFamily="34" charset="0"/>
        </a:defRPr>
      </a:lvl8pPr>
      <a:lvl9pPr marL="1759297" algn="l" rtl="0" eaLnBrk="1" fontAlgn="base" hangingPunct="1">
        <a:spcBef>
          <a:spcPct val="0"/>
        </a:spcBef>
        <a:spcAft>
          <a:spcPct val="0"/>
        </a:spcAft>
        <a:defRPr sz="2116" b="1">
          <a:solidFill>
            <a:schemeClr val="bg1"/>
          </a:solidFill>
          <a:latin typeface="Verdana" pitchFamily="34" charset="0"/>
        </a:defRPr>
      </a:lvl9pPr>
    </p:titleStyle>
    <p:bodyStyle>
      <a:lvl1pPr marL="0" indent="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rgbClr val="8197A6"/>
        </a:buClr>
        <a:buFont typeface="Arial" panose="020B0604020202020204" pitchFamily="34" charset="0"/>
        <a:buNone/>
        <a:defRPr lang="en-GB" sz="1795" dirty="0" smtClean="0">
          <a:solidFill>
            <a:srgbClr val="8197A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79216" indent="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GB" sz="1795" dirty="0" smtClean="0">
          <a:solidFill>
            <a:srgbClr val="8197A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354105" indent="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GB" sz="1795" dirty="0" smtClean="0">
          <a:solidFill>
            <a:srgbClr val="8197A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928994" indent="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GB" sz="1795" dirty="0" smtClean="0">
          <a:solidFill>
            <a:srgbClr val="8197A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503882" indent="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GB" sz="1795" dirty="0" smtClean="0">
          <a:solidFill>
            <a:srgbClr val="8197A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47552" indent="-403172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39">
          <a:solidFill>
            <a:schemeClr val="bg2"/>
          </a:solidFill>
          <a:latin typeface="+mn-lt"/>
        </a:defRPr>
      </a:lvl6pPr>
      <a:lvl7pPr marL="3787376" indent="-403172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39">
          <a:solidFill>
            <a:schemeClr val="bg2"/>
          </a:solidFill>
          <a:latin typeface="+mn-lt"/>
        </a:defRPr>
      </a:lvl7pPr>
      <a:lvl8pPr marL="4227201" indent="-403172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39">
          <a:solidFill>
            <a:schemeClr val="bg2"/>
          </a:solidFill>
          <a:latin typeface="+mn-lt"/>
        </a:defRPr>
      </a:lvl8pPr>
      <a:lvl9pPr marL="4667025" indent="-403172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39">
          <a:solidFill>
            <a:schemeClr val="bg2"/>
          </a:solidFill>
          <a:latin typeface="+mn-lt"/>
        </a:defRPr>
      </a:lvl9pPr>
    </p:bodyStyle>
    <p:otherStyle>
      <a:defPPr>
        <a:defRPr lang="en-US"/>
      </a:defPPr>
      <a:lvl1pPr marL="0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1pPr>
      <a:lvl2pPr marL="439824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2pPr>
      <a:lvl3pPr marL="879649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3pPr>
      <a:lvl4pPr marL="1319473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4pPr>
      <a:lvl5pPr marL="1759297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5pPr>
      <a:lvl6pPr marL="2199122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6pPr>
      <a:lvl7pPr marL="2638947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7pPr>
      <a:lvl8pPr marL="3078771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8pPr>
      <a:lvl9pPr marL="3518595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5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B59C607-49DF-7E2F-5597-C28204B5B9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159614809"/>
              </p:ext>
            </p:extLst>
          </p:nvPr>
        </p:nvGraphicFramePr>
        <p:xfrm>
          <a:off x="1584" y="1588"/>
          <a:ext cx="158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5" imgW="484" imgH="486" progId="TCLayout.ActiveDocument.1">
                  <p:embed/>
                </p:oleObj>
              </mc:Choice>
              <mc:Fallback>
                <p:oleObj name="Diapositive think-cell" r:id="rId15" imgW="484" imgH="4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B59C607-49DF-7E2F-5597-C28204B5B9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4" y="1588"/>
                        <a:ext cx="158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Box DG"/>
          <p:cNvSpPr txBox="1">
            <a:spLocks noChangeArrowheads="1"/>
          </p:cNvSpPr>
          <p:nvPr userDrawn="1"/>
        </p:nvSpPr>
        <p:spPr bwMode="auto">
          <a:xfrm>
            <a:off x="770887" y="447366"/>
            <a:ext cx="6688666" cy="211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rtl="0">
              <a:spcBef>
                <a:spcPct val="50000"/>
              </a:spcBef>
            </a:pPr>
            <a:endParaRPr lang="en-US" sz="770" noProof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215411" y="154800"/>
            <a:ext cx="10081234" cy="5652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l" rtl="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en-US" noProof="0"/>
              <a:t>CLICK TO EDIT MASTER TITLE STYLE</a:t>
            </a:r>
            <a:endParaRPr lang="en-US" noProof="0"/>
          </a:p>
        </p:txBody>
      </p:sp>
      <p:sp>
        <p:nvSpPr>
          <p:cNvPr id="63" name="Rectangle 2">
            <a:extLst>
              <a:ext uri="{FF2B5EF4-FFF2-40B4-BE49-F238E27FC236}">
                <a16:creationId xmlns:a16="http://schemas.microsoft.com/office/drawing/2014/main" id="{0341B57B-D657-44D2-A69B-8571F2FEB2F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219001" y="882000"/>
            <a:ext cx="11732718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noProof="0"/>
              <a:t>Click to edit Master text styles</a:t>
            </a:r>
          </a:p>
          <a:p>
            <a:pPr lvl="1"/>
            <a:r>
              <a:rPr lang="en-US" altLang="en-US" noProof="0"/>
              <a:t>Second level</a:t>
            </a:r>
          </a:p>
          <a:p>
            <a:pPr lvl="2"/>
            <a:r>
              <a:rPr lang="en-US" altLang="en-US" noProof="0"/>
              <a:t>Third level</a:t>
            </a:r>
          </a:p>
          <a:p>
            <a:pPr lvl="3"/>
            <a:r>
              <a:rPr lang="en-US" altLang="en-US" noProof="0"/>
              <a:t>Fourth level</a:t>
            </a:r>
          </a:p>
          <a:p>
            <a:pPr lvl="4"/>
            <a:r>
              <a:rPr lang="en-US" altLang="en-US" noProof="0"/>
              <a:t>Fifth level</a:t>
            </a:r>
          </a:p>
        </p:txBody>
      </p:sp>
      <p:sp>
        <p:nvSpPr>
          <p:cNvPr id="67" name="Text Box DG">
            <a:extLst>
              <a:ext uri="{FF2B5EF4-FFF2-40B4-BE49-F238E27FC236}">
                <a16:creationId xmlns:a16="http://schemas.microsoft.com/office/drawing/2014/main" id="{041D4B4D-8C28-4798-BDA6-9AF59297F35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70887" y="447366"/>
            <a:ext cx="6688666" cy="211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rtl="0">
              <a:spcBef>
                <a:spcPct val="50000"/>
              </a:spcBef>
            </a:pPr>
            <a:endParaRPr lang="en-US" sz="770" noProof="0"/>
          </a:p>
        </p:txBody>
      </p:sp>
      <p:sp>
        <p:nvSpPr>
          <p:cNvPr id="14" name="Text Box 38"/>
          <p:cNvSpPr txBox="1">
            <a:spLocks noChangeArrowheads="1"/>
          </p:cNvSpPr>
          <p:nvPr userDrawn="1"/>
        </p:nvSpPr>
        <p:spPr bwMode="auto">
          <a:xfrm>
            <a:off x="220801" y="6202800"/>
            <a:ext cx="12085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>
            <a:spAutoFit/>
          </a:bodyPr>
          <a:lstStyle/>
          <a:p>
            <a:pPr algn="l" rtl="0">
              <a:spcBef>
                <a:spcPct val="50000"/>
              </a:spcBef>
            </a:pPr>
            <a:r>
              <a:rPr lang="en-US" sz="798" noProof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" name="Text Box 34">
            <a:extLst>
              <a:ext uri="{FF2B5EF4-FFF2-40B4-BE49-F238E27FC236}">
                <a16:creationId xmlns:a16="http://schemas.microsoft.com/office/drawing/2014/main" id="{06E20340-F309-4C15-A091-9346422556E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590214" y="6202801"/>
            <a:ext cx="332784" cy="2151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Ins="0">
            <a:spAutoFit/>
          </a:bodyPr>
          <a:lstStyle/>
          <a:p>
            <a:pPr algn="r" rtl="0">
              <a:spcBef>
                <a:spcPct val="50000"/>
              </a:spcBef>
            </a:pPr>
            <a:r>
              <a:rPr lang="en-US" sz="798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fld id="{FDAC5C42-9B53-4063-AF51-A40D4C64F718}" type="slidenum">
              <a:rPr lang="en-US" sz="798" noProof="1" smtClean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rtl="0">
                <a:spcBef>
                  <a:spcPct val="50000"/>
                </a:spcBef>
              </a:pPr>
              <a:t>‹#›</a:t>
            </a:fld>
            <a:endParaRPr lang="en-US" sz="798" noProof="1">
              <a:solidFill>
                <a:srgbClr val="8197A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AA5060D9-A09D-4130-9267-1E715CE49C5B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5039" y="6585917"/>
            <a:ext cx="1632456" cy="105918"/>
          </a:xfrm>
          <a:prstGeom prst="rect">
            <a:avLst/>
          </a:prstGeom>
        </p:spPr>
      </p:pic>
      <p:pic>
        <p:nvPicPr>
          <p:cNvPr id="94" name="Picture 93">
            <a:extLst>
              <a:ext uri="{FF2B5EF4-FFF2-40B4-BE49-F238E27FC236}">
                <a16:creationId xmlns:a16="http://schemas.microsoft.com/office/drawing/2014/main" id="{4732B035-7DC9-457A-B11E-1F17E69F566A}"/>
              </a:ext>
            </a:extLst>
          </p:cNvPr>
          <p:cNvPicPr>
            <a:picLocks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0513" y="-103716"/>
            <a:ext cx="1823215" cy="1146552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8444" y="6455517"/>
            <a:ext cx="9929648" cy="40513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570B3A9-D1FB-A506-7938-1CCDF09B43A8}"/>
              </a:ext>
            </a:extLst>
          </p:cNvPr>
          <p:cNvSpPr txBox="1"/>
          <p:nvPr userDrawn="1"/>
        </p:nvSpPr>
        <p:spPr>
          <a:xfrm>
            <a:off x="10102514" y="6654558"/>
            <a:ext cx="2089486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rtl="0"/>
            <a:r>
              <a:rPr lang="en-US" sz="898" b="0" i="1">
                <a:solidFill>
                  <a:schemeClr val="tx1"/>
                </a:solidFill>
                <a:effectLst/>
                <a:latin typeface="+mn-lt"/>
              </a:rPr>
              <a:t>Contract ref. 4000140625/23/FR/MA</a:t>
            </a:r>
            <a:endParaRPr lang="en-US" sz="898" b="0" i="1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3074" name="Picture 2" descr="PricewaterhouseCoopers – Wikipedia">
            <a:extLst>
              <a:ext uri="{FF2B5EF4-FFF2-40B4-BE49-F238E27FC236}">
                <a16:creationId xmlns:a16="http://schemas.microsoft.com/office/drawing/2014/main" id="{F40486AF-3EF4-58D7-594D-47EC3436C5B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0505" y="264179"/>
            <a:ext cx="455352" cy="346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D7601B0-EE3D-FDF1-2F1A-05FC38FCD44B}"/>
              </a:ext>
            </a:extLst>
          </p:cNvPr>
          <p:cNvCxnSpPr/>
          <p:nvPr userDrawn="1"/>
        </p:nvCxnSpPr>
        <p:spPr>
          <a:xfrm>
            <a:off x="11444510" y="87366"/>
            <a:ext cx="0" cy="72000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4379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</p:sldLayoutIdLst>
  <p:hf sldNum="0" hdr="0" dt="0"/>
  <p:txStyles>
    <p:titleStyle>
      <a:lvl1pPr algn="just" rtl="0" fontAlgn="base">
        <a:spcBef>
          <a:spcPct val="0"/>
        </a:spcBef>
        <a:spcAft>
          <a:spcPct val="0"/>
        </a:spcAft>
        <a:defRPr lang="en-GB" sz="2992" b="1" dirty="0" smtClean="0">
          <a:solidFill>
            <a:srgbClr val="003249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116" b="1">
          <a:solidFill>
            <a:schemeClr val="bg1"/>
          </a:solidFill>
          <a:latin typeface="Verdana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116" b="1">
          <a:solidFill>
            <a:schemeClr val="bg1"/>
          </a:solidFill>
          <a:latin typeface="Verdana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116" b="1">
          <a:solidFill>
            <a:schemeClr val="bg1"/>
          </a:solidFill>
          <a:latin typeface="Verdana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116" b="1">
          <a:solidFill>
            <a:schemeClr val="bg1"/>
          </a:solidFill>
          <a:latin typeface="Verdana" pitchFamily="34" charset="0"/>
        </a:defRPr>
      </a:lvl5pPr>
      <a:lvl6pPr marL="439824" algn="l" rtl="0" fontAlgn="base">
        <a:spcBef>
          <a:spcPct val="0"/>
        </a:spcBef>
        <a:spcAft>
          <a:spcPct val="0"/>
        </a:spcAft>
        <a:defRPr sz="2116" b="1">
          <a:solidFill>
            <a:schemeClr val="bg1"/>
          </a:solidFill>
          <a:latin typeface="Verdana" pitchFamily="34" charset="0"/>
        </a:defRPr>
      </a:lvl6pPr>
      <a:lvl7pPr marL="879649" algn="l" rtl="0" fontAlgn="base">
        <a:spcBef>
          <a:spcPct val="0"/>
        </a:spcBef>
        <a:spcAft>
          <a:spcPct val="0"/>
        </a:spcAft>
        <a:defRPr sz="2116" b="1">
          <a:solidFill>
            <a:schemeClr val="bg1"/>
          </a:solidFill>
          <a:latin typeface="Verdana" pitchFamily="34" charset="0"/>
        </a:defRPr>
      </a:lvl7pPr>
      <a:lvl8pPr marL="1319473" algn="l" rtl="0" fontAlgn="base">
        <a:spcBef>
          <a:spcPct val="0"/>
        </a:spcBef>
        <a:spcAft>
          <a:spcPct val="0"/>
        </a:spcAft>
        <a:defRPr sz="2116" b="1">
          <a:solidFill>
            <a:schemeClr val="bg1"/>
          </a:solidFill>
          <a:latin typeface="Verdana" pitchFamily="34" charset="0"/>
        </a:defRPr>
      </a:lvl8pPr>
      <a:lvl9pPr marL="1759297" algn="l" rtl="0" fontAlgn="base">
        <a:spcBef>
          <a:spcPct val="0"/>
        </a:spcBef>
        <a:spcAft>
          <a:spcPct val="0"/>
        </a:spcAft>
        <a:defRPr sz="2116" b="1">
          <a:solidFill>
            <a:schemeClr val="bg1"/>
          </a:solidFill>
          <a:latin typeface="Verdana" pitchFamily="34" charset="0"/>
        </a:defRPr>
      </a:lvl9pPr>
    </p:titleStyle>
    <p:bodyStyle>
      <a:lvl1pPr marL="0" indent="0" algn="l" rtl="0" eaLnBrk="0" fontAlgn="base" hangingPunct="0">
        <a:lnSpc>
          <a:spcPct val="119000"/>
        </a:lnSpc>
        <a:spcBef>
          <a:spcPct val="20000"/>
        </a:spcBef>
        <a:spcAft>
          <a:spcPct val="0"/>
        </a:spcAft>
        <a:buClr>
          <a:srgbClr val="8197A6"/>
        </a:buClr>
        <a:buFont typeface="Arial" panose="020B0604020202020204" pitchFamily="34" charset="0"/>
        <a:buNone/>
        <a:defRPr lang="en-US" altLang="en-US" sz="1795" dirty="0">
          <a:solidFill>
            <a:srgbClr val="8197A6"/>
          </a:solidFill>
          <a:latin typeface="Arial" panose="020B0604020202020204" pitchFamily="34" charset="0"/>
          <a:ea typeface="MS PGothic" pitchFamily="34" charset="-128"/>
          <a:cs typeface="Arial" panose="020B0604020202020204" pitchFamily="34" charset="0"/>
        </a:defRPr>
      </a:lvl1pPr>
      <a:lvl2pPr marL="779216" indent="0" algn="l" rtl="0" eaLnBrk="0" fontAlgn="base" hangingPunct="0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US" altLang="en-US" sz="1795" dirty="0">
          <a:solidFill>
            <a:srgbClr val="8197A6"/>
          </a:solidFill>
          <a:latin typeface="Arial" panose="020B0604020202020204" pitchFamily="34" charset="0"/>
          <a:ea typeface="MS PGothic" pitchFamily="34" charset="-128"/>
          <a:cs typeface="Arial" panose="020B0604020202020204" pitchFamily="34" charset="0"/>
        </a:defRPr>
      </a:lvl2pPr>
      <a:lvl3pPr marL="1354105" indent="0" algn="l" rtl="0" eaLnBrk="0" fontAlgn="base" hangingPunct="0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US" altLang="en-US" sz="1795" dirty="0">
          <a:solidFill>
            <a:srgbClr val="8197A6"/>
          </a:solidFill>
          <a:latin typeface="Arial" panose="020B0604020202020204" pitchFamily="34" charset="0"/>
          <a:ea typeface="MS PGothic" pitchFamily="34" charset="-128"/>
          <a:cs typeface="Arial" panose="020B0604020202020204" pitchFamily="34" charset="0"/>
        </a:defRPr>
      </a:lvl3pPr>
      <a:lvl4pPr marL="1928994" indent="0" algn="l" rtl="0" eaLnBrk="0" fontAlgn="base" hangingPunct="0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US" altLang="en-US" sz="1795" dirty="0">
          <a:solidFill>
            <a:srgbClr val="8197A6"/>
          </a:solidFill>
          <a:latin typeface="Arial" charset="0"/>
          <a:ea typeface="MS PGothic" pitchFamily="34" charset="-128"/>
          <a:cs typeface="Arial" charset="0"/>
        </a:defRPr>
      </a:lvl4pPr>
      <a:lvl5pPr marL="2503882" indent="0" algn="l" rtl="0" eaLnBrk="0" fontAlgn="base" hangingPunct="0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GB" altLang="en-US" sz="1795" dirty="0">
          <a:solidFill>
            <a:srgbClr val="8197A6"/>
          </a:solidFill>
          <a:latin typeface="Arial" charset="0"/>
          <a:ea typeface="MS PGothic" pitchFamily="34" charset="-128"/>
          <a:cs typeface="Arial" charset="0"/>
        </a:defRPr>
      </a:lvl5pPr>
      <a:lvl6pPr marL="3347552" indent="-403172" algn="l" rtl="0" fontAlgn="base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39">
          <a:solidFill>
            <a:schemeClr val="bg2"/>
          </a:solidFill>
          <a:latin typeface="+mn-lt"/>
        </a:defRPr>
      </a:lvl6pPr>
      <a:lvl7pPr marL="3787376" indent="-403172" algn="l" rtl="0" fontAlgn="base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39">
          <a:solidFill>
            <a:schemeClr val="bg2"/>
          </a:solidFill>
          <a:latin typeface="+mn-lt"/>
        </a:defRPr>
      </a:lvl7pPr>
      <a:lvl8pPr marL="4227201" indent="-403172" algn="l" rtl="0" fontAlgn="base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39">
          <a:solidFill>
            <a:schemeClr val="bg2"/>
          </a:solidFill>
          <a:latin typeface="+mn-lt"/>
        </a:defRPr>
      </a:lvl8pPr>
      <a:lvl9pPr marL="4667025" indent="-403172" algn="l" rtl="0" fontAlgn="base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39">
          <a:solidFill>
            <a:schemeClr val="bg2"/>
          </a:solidFill>
          <a:latin typeface="+mn-lt"/>
        </a:defRPr>
      </a:lvl9pPr>
    </p:bodyStyle>
    <p:otherStyle>
      <a:defPPr>
        <a:defRPr lang="en-US"/>
      </a:defPPr>
      <a:lvl1pPr marL="0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1pPr>
      <a:lvl2pPr marL="439824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2pPr>
      <a:lvl3pPr marL="879649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3pPr>
      <a:lvl4pPr marL="1319473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4pPr>
      <a:lvl5pPr marL="1759297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5pPr>
      <a:lvl6pPr marL="2199122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6pPr>
      <a:lvl7pPr marL="2638947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7pPr>
      <a:lvl8pPr marL="3078771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8pPr>
      <a:lvl9pPr marL="3518595" algn="l" defTabSz="879649" rtl="0" eaLnBrk="1" latinLnBrk="0" hangingPunct="1">
        <a:defRPr sz="173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5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6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5.bin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03.png"/><Relationship Id="rId18" Type="http://schemas.openxmlformats.org/officeDocument/2006/relationships/image" Target="../media/image108.png"/><Relationship Id="rId26" Type="http://schemas.openxmlformats.org/officeDocument/2006/relationships/image" Target="../media/image116.png"/><Relationship Id="rId39" Type="http://schemas.openxmlformats.org/officeDocument/2006/relationships/image" Target="../media/image129.png"/><Relationship Id="rId21" Type="http://schemas.openxmlformats.org/officeDocument/2006/relationships/image" Target="../media/image111.png"/><Relationship Id="rId34" Type="http://schemas.openxmlformats.org/officeDocument/2006/relationships/image" Target="../media/image124.png"/><Relationship Id="rId42" Type="http://schemas.openxmlformats.org/officeDocument/2006/relationships/image" Target="../media/image132.png"/><Relationship Id="rId7" Type="http://schemas.openxmlformats.org/officeDocument/2006/relationships/image" Target="../media/image97.jpeg"/><Relationship Id="rId2" Type="http://schemas.openxmlformats.org/officeDocument/2006/relationships/image" Target="../media/image92.png"/><Relationship Id="rId16" Type="http://schemas.openxmlformats.org/officeDocument/2006/relationships/image" Target="../media/image106.png"/><Relationship Id="rId20" Type="http://schemas.openxmlformats.org/officeDocument/2006/relationships/image" Target="../media/image110.png"/><Relationship Id="rId29" Type="http://schemas.openxmlformats.org/officeDocument/2006/relationships/image" Target="../media/image119.png"/><Relationship Id="rId41" Type="http://schemas.openxmlformats.org/officeDocument/2006/relationships/image" Target="../media/image13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6.png"/><Relationship Id="rId11" Type="http://schemas.openxmlformats.org/officeDocument/2006/relationships/image" Target="../media/image101.jpeg"/><Relationship Id="rId24" Type="http://schemas.openxmlformats.org/officeDocument/2006/relationships/image" Target="../media/image114.png"/><Relationship Id="rId32" Type="http://schemas.openxmlformats.org/officeDocument/2006/relationships/image" Target="../media/image122.png"/><Relationship Id="rId37" Type="http://schemas.openxmlformats.org/officeDocument/2006/relationships/image" Target="../media/image127.png"/><Relationship Id="rId40" Type="http://schemas.openxmlformats.org/officeDocument/2006/relationships/image" Target="../media/image130.png"/><Relationship Id="rId5" Type="http://schemas.openxmlformats.org/officeDocument/2006/relationships/image" Target="../media/image95.png"/><Relationship Id="rId15" Type="http://schemas.openxmlformats.org/officeDocument/2006/relationships/image" Target="../media/image105.png"/><Relationship Id="rId23" Type="http://schemas.openxmlformats.org/officeDocument/2006/relationships/image" Target="../media/image113.png"/><Relationship Id="rId28" Type="http://schemas.openxmlformats.org/officeDocument/2006/relationships/image" Target="../media/image118.png"/><Relationship Id="rId36" Type="http://schemas.openxmlformats.org/officeDocument/2006/relationships/image" Target="../media/image126.png"/><Relationship Id="rId10" Type="http://schemas.openxmlformats.org/officeDocument/2006/relationships/image" Target="../media/image100.png"/><Relationship Id="rId19" Type="http://schemas.openxmlformats.org/officeDocument/2006/relationships/image" Target="../media/image109.png"/><Relationship Id="rId31" Type="http://schemas.openxmlformats.org/officeDocument/2006/relationships/image" Target="../media/image121.png"/><Relationship Id="rId4" Type="http://schemas.openxmlformats.org/officeDocument/2006/relationships/image" Target="../media/image94.png"/><Relationship Id="rId9" Type="http://schemas.openxmlformats.org/officeDocument/2006/relationships/image" Target="../media/image99.png"/><Relationship Id="rId14" Type="http://schemas.openxmlformats.org/officeDocument/2006/relationships/image" Target="../media/image104.png"/><Relationship Id="rId22" Type="http://schemas.openxmlformats.org/officeDocument/2006/relationships/image" Target="../media/image112.png"/><Relationship Id="rId27" Type="http://schemas.openxmlformats.org/officeDocument/2006/relationships/image" Target="../media/image117.png"/><Relationship Id="rId30" Type="http://schemas.openxmlformats.org/officeDocument/2006/relationships/image" Target="../media/image120.png"/><Relationship Id="rId35" Type="http://schemas.openxmlformats.org/officeDocument/2006/relationships/image" Target="../media/image125.png"/><Relationship Id="rId43" Type="http://schemas.openxmlformats.org/officeDocument/2006/relationships/image" Target="../media/image133.png"/><Relationship Id="rId8" Type="http://schemas.openxmlformats.org/officeDocument/2006/relationships/image" Target="../media/image98.png"/><Relationship Id="rId3" Type="http://schemas.openxmlformats.org/officeDocument/2006/relationships/image" Target="../media/image93.png"/><Relationship Id="rId12" Type="http://schemas.openxmlformats.org/officeDocument/2006/relationships/image" Target="../media/image102.png"/><Relationship Id="rId17" Type="http://schemas.openxmlformats.org/officeDocument/2006/relationships/image" Target="../media/image107.png"/><Relationship Id="rId25" Type="http://schemas.openxmlformats.org/officeDocument/2006/relationships/image" Target="../media/image115.png"/><Relationship Id="rId33" Type="http://schemas.openxmlformats.org/officeDocument/2006/relationships/image" Target="../media/image123.png"/><Relationship Id="rId38" Type="http://schemas.openxmlformats.org/officeDocument/2006/relationships/image" Target="../media/image128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4.jp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5.emf"/><Relationship Id="rId2" Type="http://schemas.openxmlformats.org/officeDocument/2006/relationships/hyperlink" Target="https://philab.esa.int/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mailto:Michele.Castorina@esa.int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7" Type="http://schemas.openxmlformats.org/officeDocument/2006/relationships/image" Target="../media/image21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0.jpeg"/><Relationship Id="rId5" Type="http://schemas.microsoft.com/office/2007/relationships/hdphoto" Target="../media/hdphoto1.wdp"/><Relationship Id="rId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png"/><Relationship Id="rId4" Type="http://schemas.openxmlformats.org/officeDocument/2006/relationships/image" Target="../media/image24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6.png"/><Relationship Id="rId18" Type="http://schemas.openxmlformats.org/officeDocument/2006/relationships/image" Target="../media/image51.png"/><Relationship Id="rId26" Type="http://schemas.openxmlformats.org/officeDocument/2006/relationships/image" Target="../media/image59.png"/><Relationship Id="rId39" Type="http://schemas.openxmlformats.org/officeDocument/2006/relationships/image" Target="../media/image72.png"/><Relationship Id="rId21" Type="http://schemas.openxmlformats.org/officeDocument/2006/relationships/image" Target="../media/image54.png"/><Relationship Id="rId34" Type="http://schemas.openxmlformats.org/officeDocument/2006/relationships/image" Target="../media/image67.png"/><Relationship Id="rId42" Type="http://schemas.openxmlformats.org/officeDocument/2006/relationships/image" Target="../media/image75.png"/><Relationship Id="rId47" Type="http://schemas.openxmlformats.org/officeDocument/2006/relationships/image" Target="../media/image80.jpeg"/><Relationship Id="rId50" Type="http://schemas.openxmlformats.org/officeDocument/2006/relationships/image" Target="../media/image83.png"/><Relationship Id="rId55" Type="http://schemas.openxmlformats.org/officeDocument/2006/relationships/image" Target="../media/image88.png"/><Relationship Id="rId7" Type="http://schemas.openxmlformats.org/officeDocument/2006/relationships/image" Target="../media/image40.png"/><Relationship Id="rId2" Type="http://schemas.openxmlformats.org/officeDocument/2006/relationships/image" Target="../media/image35.png"/><Relationship Id="rId16" Type="http://schemas.openxmlformats.org/officeDocument/2006/relationships/image" Target="../media/image49.jpeg"/><Relationship Id="rId29" Type="http://schemas.openxmlformats.org/officeDocument/2006/relationships/image" Target="../media/image62.png"/><Relationship Id="rId11" Type="http://schemas.openxmlformats.org/officeDocument/2006/relationships/image" Target="../media/image44.png"/><Relationship Id="rId24" Type="http://schemas.openxmlformats.org/officeDocument/2006/relationships/image" Target="../media/image57.png"/><Relationship Id="rId32" Type="http://schemas.openxmlformats.org/officeDocument/2006/relationships/image" Target="../media/image65.png"/><Relationship Id="rId37" Type="http://schemas.openxmlformats.org/officeDocument/2006/relationships/image" Target="../media/image70.png"/><Relationship Id="rId40" Type="http://schemas.openxmlformats.org/officeDocument/2006/relationships/image" Target="../media/image73.png"/><Relationship Id="rId45" Type="http://schemas.openxmlformats.org/officeDocument/2006/relationships/image" Target="../media/image78.png"/><Relationship Id="rId53" Type="http://schemas.openxmlformats.org/officeDocument/2006/relationships/image" Target="../media/image86.png"/><Relationship Id="rId58" Type="http://schemas.openxmlformats.org/officeDocument/2006/relationships/image" Target="../media/image91.png"/><Relationship Id="rId5" Type="http://schemas.openxmlformats.org/officeDocument/2006/relationships/image" Target="../media/image38.jpeg"/><Relationship Id="rId19" Type="http://schemas.openxmlformats.org/officeDocument/2006/relationships/image" Target="../media/image52.png"/><Relationship Id="rId4" Type="http://schemas.openxmlformats.org/officeDocument/2006/relationships/image" Target="../media/image37.png"/><Relationship Id="rId9" Type="http://schemas.openxmlformats.org/officeDocument/2006/relationships/image" Target="../media/image42.png"/><Relationship Id="rId14" Type="http://schemas.openxmlformats.org/officeDocument/2006/relationships/image" Target="../media/image47.png"/><Relationship Id="rId22" Type="http://schemas.openxmlformats.org/officeDocument/2006/relationships/image" Target="../media/image55.png"/><Relationship Id="rId27" Type="http://schemas.openxmlformats.org/officeDocument/2006/relationships/image" Target="../media/image60.png"/><Relationship Id="rId30" Type="http://schemas.openxmlformats.org/officeDocument/2006/relationships/image" Target="../media/image63.jpeg"/><Relationship Id="rId35" Type="http://schemas.openxmlformats.org/officeDocument/2006/relationships/image" Target="../media/image68.png"/><Relationship Id="rId43" Type="http://schemas.openxmlformats.org/officeDocument/2006/relationships/image" Target="../media/image76.png"/><Relationship Id="rId48" Type="http://schemas.openxmlformats.org/officeDocument/2006/relationships/image" Target="../media/image81.png"/><Relationship Id="rId56" Type="http://schemas.openxmlformats.org/officeDocument/2006/relationships/image" Target="../media/image89.png"/><Relationship Id="rId8" Type="http://schemas.openxmlformats.org/officeDocument/2006/relationships/image" Target="../media/image41.png"/><Relationship Id="rId51" Type="http://schemas.openxmlformats.org/officeDocument/2006/relationships/image" Target="../media/image84.jpeg"/><Relationship Id="rId3" Type="http://schemas.openxmlformats.org/officeDocument/2006/relationships/image" Target="../media/image36.png"/><Relationship Id="rId12" Type="http://schemas.openxmlformats.org/officeDocument/2006/relationships/image" Target="../media/image45.png"/><Relationship Id="rId17" Type="http://schemas.openxmlformats.org/officeDocument/2006/relationships/image" Target="../media/image50.png"/><Relationship Id="rId25" Type="http://schemas.openxmlformats.org/officeDocument/2006/relationships/image" Target="../media/image58.png"/><Relationship Id="rId33" Type="http://schemas.openxmlformats.org/officeDocument/2006/relationships/image" Target="../media/image66.png"/><Relationship Id="rId38" Type="http://schemas.openxmlformats.org/officeDocument/2006/relationships/image" Target="../media/image71.png"/><Relationship Id="rId46" Type="http://schemas.openxmlformats.org/officeDocument/2006/relationships/image" Target="../media/image79.png"/><Relationship Id="rId20" Type="http://schemas.openxmlformats.org/officeDocument/2006/relationships/image" Target="../media/image53.png"/><Relationship Id="rId41" Type="http://schemas.openxmlformats.org/officeDocument/2006/relationships/image" Target="../media/image74.png"/><Relationship Id="rId54" Type="http://schemas.openxmlformats.org/officeDocument/2006/relationships/image" Target="../media/image8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png"/><Relationship Id="rId15" Type="http://schemas.openxmlformats.org/officeDocument/2006/relationships/image" Target="../media/image48.png"/><Relationship Id="rId23" Type="http://schemas.openxmlformats.org/officeDocument/2006/relationships/image" Target="../media/image56.png"/><Relationship Id="rId28" Type="http://schemas.openxmlformats.org/officeDocument/2006/relationships/image" Target="../media/image61.png"/><Relationship Id="rId36" Type="http://schemas.openxmlformats.org/officeDocument/2006/relationships/image" Target="../media/image69.png"/><Relationship Id="rId49" Type="http://schemas.openxmlformats.org/officeDocument/2006/relationships/image" Target="../media/image82.png"/><Relationship Id="rId57" Type="http://schemas.openxmlformats.org/officeDocument/2006/relationships/image" Target="../media/image90.png"/><Relationship Id="rId10" Type="http://schemas.openxmlformats.org/officeDocument/2006/relationships/image" Target="../media/image43.jpeg"/><Relationship Id="rId31" Type="http://schemas.openxmlformats.org/officeDocument/2006/relationships/image" Target="../media/image64.png"/><Relationship Id="rId44" Type="http://schemas.openxmlformats.org/officeDocument/2006/relationships/image" Target="../media/image77.png"/><Relationship Id="rId52" Type="http://schemas.openxmlformats.org/officeDocument/2006/relationships/image" Target="../media/image8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2370F65-35F5-4B65-932F-4B69A191C6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92" imgH="595" progId="TCLayout.ActiveDocument.1">
                  <p:embed/>
                </p:oleObj>
              </mc:Choice>
              <mc:Fallback>
                <p:oleObj name="Diapositive think-cell" r:id="rId4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2370F65-35F5-4B65-932F-4B69A191C6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9"/>
          <p:cNvSpPr txBox="1">
            <a:spLocks noChangeArrowheads="1"/>
          </p:cNvSpPr>
          <p:nvPr/>
        </p:nvSpPr>
        <p:spPr bwMode="auto">
          <a:xfrm>
            <a:off x="125656" y="3427651"/>
            <a:ext cx="11880914" cy="6966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7961" tIns="43981" rIns="87961" bIns="43981" numCol="1" anchor="b" anchorCtr="0" compatLnSpc="1">
            <a:prstTxWarp prst="textNoShape">
              <a:avLst/>
            </a:prstTxWarp>
            <a:spAutoFit/>
          </a:bodyPr>
          <a:lstStyle/>
          <a:p>
            <a:pPr defTabSz="87964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950" b="1" dirty="0">
                <a:solidFill>
                  <a:srgbClr val="FEFFFF"/>
                </a:solidFill>
                <a:cs typeface="Arial"/>
              </a:rPr>
              <a:t>EOP as a Partner – InCubed </a:t>
            </a:r>
            <a:r>
              <a:rPr lang="en-US" sz="3950" b="1" dirty="0" err="1">
                <a:solidFill>
                  <a:srgbClr val="FEFFFF"/>
                </a:solidFill>
                <a:cs typeface="Arial"/>
              </a:rPr>
              <a:t>Programme</a:t>
            </a:r>
            <a:endParaRPr kumimoji="0" lang="en-US" sz="3950" b="1" i="1" u="none" strike="noStrike" kern="1200" cap="none" spc="0" normalizeH="0" baseline="0" noProof="0" dirty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2" name="Text Box 99">
            <a:extLst>
              <a:ext uri="{FF2B5EF4-FFF2-40B4-BE49-F238E27FC236}">
                <a16:creationId xmlns:a16="http://schemas.microsoft.com/office/drawing/2014/main" id="{B06A49EE-0921-4A0E-99D9-29F5A2AC6E1F}"/>
              </a:ext>
            </a:extLst>
          </p:cNvPr>
          <p:cNvSpPr/>
          <p:nvPr/>
        </p:nvSpPr>
        <p:spPr>
          <a:xfrm>
            <a:off x="7268691" y="5584764"/>
            <a:ext cx="4737879" cy="2164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19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97" b="0" i="0" u="none" strike="noStrike" kern="1200" cap="none" spc="0" normalizeH="0" baseline="0" noProof="0">
              <a:ln>
                <a:noFill/>
              </a:ln>
              <a:solidFill>
                <a:srgbClr val="FE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35A7A62-11CB-E88E-AA21-09C2D91EE2B5}"/>
              </a:ext>
            </a:extLst>
          </p:cNvPr>
          <p:cNvSpPr/>
          <p:nvPr/>
        </p:nvSpPr>
        <p:spPr>
          <a:xfrm>
            <a:off x="8675265" y="5423764"/>
            <a:ext cx="326785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GB" sz="1400" b="1" i="0" dirty="0">
                <a:solidFill>
                  <a:srgbClr val="FFFFFF"/>
                </a:solidFill>
                <a:effectLst/>
                <a:latin typeface="notesesa" panose="02000506030000020004" pitchFamily="2" charset="0"/>
              </a:rPr>
              <a:t>Michele Castorina</a:t>
            </a:r>
          </a:p>
          <a:p>
            <a:pPr algn="r"/>
            <a:r>
              <a:rPr lang="en-GB" sz="1400" b="1" i="0" dirty="0">
                <a:solidFill>
                  <a:srgbClr val="FFFFFF"/>
                </a:solidFill>
                <a:effectLst/>
                <a:latin typeface="notesesa" panose="02000506030000020004" pitchFamily="2" charset="0"/>
              </a:rPr>
              <a:t>THE 1</a:t>
            </a:r>
            <a:r>
              <a:rPr lang="en-GB" sz="1400" b="1" i="0" baseline="30000" dirty="0">
                <a:solidFill>
                  <a:srgbClr val="FFFFFF"/>
                </a:solidFill>
                <a:effectLst/>
                <a:latin typeface="notesesa" panose="02000506030000020004" pitchFamily="2" charset="0"/>
              </a:rPr>
              <a:t>st</a:t>
            </a:r>
            <a:r>
              <a:rPr lang="en-GB" sz="1400" b="1" i="0" dirty="0">
                <a:solidFill>
                  <a:srgbClr val="FFFFFF"/>
                </a:solidFill>
                <a:effectLst/>
                <a:latin typeface="notesesa" panose="02000506030000020004" pitchFamily="2" charset="0"/>
              </a:rPr>
              <a:t> EO COMMERCIALISATION</a:t>
            </a:r>
            <a:r>
              <a:rPr lang="en-GB" sz="1400" b="1" dirty="0">
                <a:solidFill>
                  <a:srgbClr val="FFFFFF"/>
                </a:solidFill>
                <a:latin typeface="notesesa" panose="02000506030000020004" pitchFamily="2" charset="0"/>
              </a:rPr>
              <a:t> </a:t>
            </a:r>
            <a:r>
              <a:rPr lang="en-GB" sz="1400" b="1" i="0" dirty="0">
                <a:solidFill>
                  <a:srgbClr val="FFFFFF"/>
                </a:solidFill>
                <a:effectLst/>
                <a:latin typeface="notesesa" panose="02000506030000020004" pitchFamily="2" charset="0"/>
              </a:rPr>
              <a:t>FORUM</a:t>
            </a:r>
          </a:p>
          <a:p>
            <a:pPr algn="r"/>
            <a:r>
              <a:rPr lang="en-GB" sz="1400" kern="0" dirty="0">
                <a:solidFill>
                  <a:schemeClr val="bg1"/>
                </a:solidFill>
                <a:latin typeface="notesesa" panose="02000506030000020004" pitchFamily="2" charset="0"/>
              </a:rPr>
              <a:t>ESA HQ, Paris</a:t>
            </a:r>
          </a:p>
          <a:p>
            <a:pPr algn="r"/>
            <a:r>
              <a:rPr lang="en-GB" sz="1400" kern="0" dirty="0">
                <a:solidFill>
                  <a:schemeClr val="bg1"/>
                </a:solidFill>
                <a:latin typeface="notesesa" panose="02000506030000020004" pitchFamily="2" charset="0"/>
              </a:rPr>
              <a:t>30</a:t>
            </a:r>
            <a:r>
              <a:rPr lang="en-GB" sz="1400" kern="0" baseline="30000" dirty="0">
                <a:solidFill>
                  <a:schemeClr val="bg1"/>
                </a:solidFill>
                <a:latin typeface="notesesa" panose="02000506030000020004" pitchFamily="2" charset="0"/>
              </a:rPr>
              <a:t>th</a:t>
            </a:r>
            <a:r>
              <a:rPr lang="en-GB" sz="1400" kern="0" dirty="0">
                <a:solidFill>
                  <a:schemeClr val="bg1"/>
                </a:solidFill>
                <a:latin typeface="notesesa" panose="02000506030000020004" pitchFamily="2" charset="0"/>
              </a:rPr>
              <a:t> October 2023</a:t>
            </a:r>
            <a:endParaRPr lang="en-GB" sz="1400" kern="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063247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2" grpId="0" build="allAtOnce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065A705-C9B4-80EB-2E60-F56E224DEA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97848" y="63776"/>
            <a:ext cx="241244" cy="9980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8D32710-6932-4822-8B75-B42FC0E5EB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06698" y="1159817"/>
            <a:ext cx="751918" cy="516294"/>
          </a:xfrm>
          <a:prstGeom prst="rect">
            <a:avLst/>
          </a:prstGeom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E20CEAEF-CEEE-D845-3E22-6851691DC2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3898" y="1080936"/>
            <a:ext cx="1044880" cy="516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1FDAB2F-B4C2-1DAD-3AD7-33858AD7B34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3726" y="1597230"/>
            <a:ext cx="1865072" cy="104910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F650B11-A19B-C6D8-C999-5B4A1D4BDC7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80749" y="1833537"/>
            <a:ext cx="751918" cy="431845"/>
          </a:xfrm>
          <a:prstGeom prst="rect">
            <a:avLst/>
          </a:prstGeom>
        </p:spPr>
      </p:pic>
      <p:pic>
        <p:nvPicPr>
          <p:cNvPr id="2052" name="Picture 4" descr="Sat4Flood logo">
            <a:extLst>
              <a:ext uri="{FF2B5EF4-FFF2-40B4-BE49-F238E27FC236}">
                <a16:creationId xmlns:a16="http://schemas.microsoft.com/office/drawing/2014/main" id="{86C59EDC-8D5C-CD2D-CEC8-69DA064879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3386" y="997477"/>
            <a:ext cx="1491664" cy="738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>
            <a:extLst>
              <a:ext uri="{FF2B5EF4-FFF2-40B4-BE49-F238E27FC236}">
                <a16:creationId xmlns:a16="http://schemas.microsoft.com/office/drawing/2014/main" id="{254AC4AB-8273-4B25-ADF9-294D8BF3CA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4618" y="963787"/>
            <a:ext cx="908353" cy="908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>
            <a:extLst>
              <a:ext uri="{FF2B5EF4-FFF2-40B4-BE49-F238E27FC236}">
                <a16:creationId xmlns:a16="http://schemas.microsoft.com/office/drawing/2014/main" id="{C35AA058-8445-5DD0-16A4-34EBA61E34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024" y="2321242"/>
            <a:ext cx="2026428" cy="15198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>
            <a:extLst>
              <a:ext uri="{FF2B5EF4-FFF2-40B4-BE49-F238E27FC236}">
                <a16:creationId xmlns:a16="http://schemas.microsoft.com/office/drawing/2014/main" id="{3C522D68-E200-F903-312C-D14D81E3E8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1904824"/>
            <a:ext cx="1862137" cy="614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>
            <a:extLst>
              <a:ext uri="{FF2B5EF4-FFF2-40B4-BE49-F238E27FC236}">
                <a16:creationId xmlns:a16="http://schemas.microsoft.com/office/drawing/2014/main" id="{435DC6E1-1CD6-C3B5-543D-F7657A8D1F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9658" y="1080936"/>
            <a:ext cx="2020610" cy="596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2" name="Picture 14">
            <a:extLst>
              <a:ext uri="{FF2B5EF4-FFF2-40B4-BE49-F238E27FC236}">
                <a16:creationId xmlns:a16="http://schemas.microsoft.com/office/drawing/2014/main" id="{7473BEA6-1FC3-4B79-3537-C79CECA275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1275" y="1821895"/>
            <a:ext cx="1855370" cy="593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4" name="Picture 16">
            <a:extLst>
              <a:ext uri="{FF2B5EF4-FFF2-40B4-BE49-F238E27FC236}">
                <a16:creationId xmlns:a16="http://schemas.microsoft.com/office/drawing/2014/main" id="{E709CD09-4EBE-8A28-58BE-01620E4982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0715" y="2440498"/>
            <a:ext cx="2012075" cy="590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6" name="Picture 18">
            <a:extLst>
              <a:ext uri="{FF2B5EF4-FFF2-40B4-BE49-F238E27FC236}">
                <a16:creationId xmlns:a16="http://schemas.microsoft.com/office/drawing/2014/main" id="{E56A8AEC-1AC0-F8F8-D368-DBA6E126E2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12" y="2380519"/>
            <a:ext cx="1117347" cy="3216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>
            <a:extLst>
              <a:ext uri="{FF2B5EF4-FFF2-40B4-BE49-F238E27FC236}">
                <a16:creationId xmlns:a16="http://schemas.microsoft.com/office/drawing/2014/main" id="{0B4122C4-826F-9CB6-E569-998214A4C3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277" y="1063657"/>
            <a:ext cx="965822" cy="9328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8">
            <a:extLst>
              <a:ext uri="{FF2B5EF4-FFF2-40B4-BE49-F238E27FC236}">
                <a16:creationId xmlns:a16="http://schemas.microsoft.com/office/drawing/2014/main" id="{B55D9A28-762D-4823-1583-9FE625E677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8572" y="2020563"/>
            <a:ext cx="2237406" cy="300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50">
            <a:extLst>
              <a:ext uri="{FF2B5EF4-FFF2-40B4-BE49-F238E27FC236}">
                <a16:creationId xmlns:a16="http://schemas.microsoft.com/office/drawing/2014/main" id="{0B9DC8F5-68F2-8A80-DEC5-9D208F0194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4698" y="2756038"/>
            <a:ext cx="1058323" cy="10536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8" name="Picture 20">
            <a:extLst>
              <a:ext uri="{FF2B5EF4-FFF2-40B4-BE49-F238E27FC236}">
                <a16:creationId xmlns:a16="http://schemas.microsoft.com/office/drawing/2014/main" id="{C3164D5B-7651-BFA9-182B-19D3D241A0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9340" y="2216525"/>
            <a:ext cx="3133474" cy="1632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70" name="Picture 22">
            <a:extLst>
              <a:ext uri="{FF2B5EF4-FFF2-40B4-BE49-F238E27FC236}">
                <a16:creationId xmlns:a16="http://schemas.microsoft.com/office/drawing/2014/main" id="{B6AC3AC8-A632-CA9D-AABD-64EB82BD47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277" y="3427556"/>
            <a:ext cx="1846839" cy="544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72" name="Picture 24">
            <a:extLst>
              <a:ext uri="{FF2B5EF4-FFF2-40B4-BE49-F238E27FC236}">
                <a16:creationId xmlns:a16="http://schemas.microsoft.com/office/drawing/2014/main" id="{96D9FA67-774C-B04F-9884-ADB5FD5493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1304" y="1710241"/>
            <a:ext cx="1369240" cy="807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74" name="Picture 26">
            <a:extLst>
              <a:ext uri="{FF2B5EF4-FFF2-40B4-BE49-F238E27FC236}">
                <a16:creationId xmlns:a16="http://schemas.microsoft.com/office/drawing/2014/main" id="{E79553DB-4589-E7C1-143A-7449614B39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7596" y="3411464"/>
            <a:ext cx="2668694" cy="10407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76" name="Picture 28">
            <a:extLst>
              <a:ext uri="{FF2B5EF4-FFF2-40B4-BE49-F238E27FC236}">
                <a16:creationId xmlns:a16="http://schemas.microsoft.com/office/drawing/2014/main" id="{63D080B7-C5D6-8358-3BFE-9345D9815E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9697" y="2557865"/>
            <a:ext cx="1855371" cy="857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78" name="Picture 30" descr="Sat4Flood logo">
            <a:extLst>
              <a:ext uri="{FF2B5EF4-FFF2-40B4-BE49-F238E27FC236}">
                <a16:creationId xmlns:a16="http://schemas.microsoft.com/office/drawing/2014/main" id="{8E15ECE3-D5EA-A508-EE66-5E6D72508B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33" y="4035276"/>
            <a:ext cx="2436453" cy="7162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80" name="Picture 32">
            <a:extLst>
              <a:ext uri="{FF2B5EF4-FFF2-40B4-BE49-F238E27FC236}">
                <a16:creationId xmlns:a16="http://schemas.microsoft.com/office/drawing/2014/main" id="{BD21CA05-3370-8E5B-1367-48A41C40FA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6309" y="3241770"/>
            <a:ext cx="1856941" cy="606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82" name="Picture 34">
            <a:extLst>
              <a:ext uri="{FF2B5EF4-FFF2-40B4-BE49-F238E27FC236}">
                <a16:creationId xmlns:a16="http://schemas.microsoft.com/office/drawing/2014/main" id="{3155D064-F0BC-3A71-ECEE-D33B8BAB45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3113" y="3300658"/>
            <a:ext cx="1693090" cy="11762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84" name="Picture 36">
            <a:extLst>
              <a:ext uri="{FF2B5EF4-FFF2-40B4-BE49-F238E27FC236}">
                <a16:creationId xmlns:a16="http://schemas.microsoft.com/office/drawing/2014/main" id="{67BC6658-479F-4760-3228-28A1BF61CA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5068" y="2930299"/>
            <a:ext cx="856075" cy="769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86" name="Picture 38">
            <a:extLst>
              <a:ext uri="{FF2B5EF4-FFF2-40B4-BE49-F238E27FC236}">
                <a16:creationId xmlns:a16="http://schemas.microsoft.com/office/drawing/2014/main" id="{186D5E69-DDEF-A33B-B014-88171932DA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8146" y="4407959"/>
            <a:ext cx="2003353" cy="4247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88" name="Picture 40">
            <a:extLst>
              <a:ext uri="{FF2B5EF4-FFF2-40B4-BE49-F238E27FC236}">
                <a16:creationId xmlns:a16="http://schemas.microsoft.com/office/drawing/2014/main" id="{2F87A602-0D35-CEF8-18EE-83AE662D2D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832698"/>
            <a:ext cx="2304613" cy="8537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90" name="Picture 42">
            <a:extLst>
              <a:ext uri="{FF2B5EF4-FFF2-40B4-BE49-F238E27FC236}">
                <a16:creationId xmlns:a16="http://schemas.microsoft.com/office/drawing/2014/main" id="{40B60CD4-CB30-7A75-3598-9991EA2990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0750" y="4955949"/>
            <a:ext cx="751918" cy="697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92" name="Picture 44">
            <a:extLst>
              <a:ext uri="{FF2B5EF4-FFF2-40B4-BE49-F238E27FC236}">
                <a16:creationId xmlns:a16="http://schemas.microsoft.com/office/drawing/2014/main" id="{516A1649-D44E-451D-1D3C-A377CD7EA5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8887" y="5786711"/>
            <a:ext cx="1204319" cy="3853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94" name="Picture 46">
            <a:extLst>
              <a:ext uri="{FF2B5EF4-FFF2-40B4-BE49-F238E27FC236}">
                <a16:creationId xmlns:a16="http://schemas.microsoft.com/office/drawing/2014/main" id="{DEB6ECCC-07CE-1733-22B8-52A2123B88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0750" y="4192460"/>
            <a:ext cx="1599021" cy="42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274A9D2-E47D-91F4-A5F0-C6C83535CEB1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305622" y="5858201"/>
            <a:ext cx="2251086" cy="369097"/>
          </a:xfrm>
          <a:prstGeom prst="rect">
            <a:avLst/>
          </a:prstGeom>
        </p:spPr>
      </p:pic>
      <p:pic>
        <p:nvPicPr>
          <p:cNvPr id="2096" name="Picture 48">
            <a:extLst>
              <a:ext uri="{FF2B5EF4-FFF2-40B4-BE49-F238E27FC236}">
                <a16:creationId xmlns:a16="http://schemas.microsoft.com/office/drawing/2014/main" id="{3D0B2C37-EAC8-C9BF-DE98-E423930D89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7274" y="4832698"/>
            <a:ext cx="1586112" cy="8537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98" name="Picture 50">
            <a:extLst>
              <a:ext uri="{FF2B5EF4-FFF2-40B4-BE49-F238E27FC236}">
                <a16:creationId xmlns:a16="http://schemas.microsoft.com/office/drawing/2014/main" id="{D15D7F84-CF81-9169-5359-11C5A93538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17612" y="3660081"/>
            <a:ext cx="1625312" cy="586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00" name="Picture 52">
            <a:extLst>
              <a:ext uri="{FF2B5EF4-FFF2-40B4-BE49-F238E27FC236}">
                <a16:creationId xmlns:a16="http://schemas.microsoft.com/office/drawing/2014/main" id="{AC15E3A2-4E00-EA0F-1A65-56F4D0CA67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1242" y="4636660"/>
            <a:ext cx="2003352" cy="10016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02" name="Picture 54">
            <a:extLst>
              <a:ext uri="{FF2B5EF4-FFF2-40B4-BE49-F238E27FC236}">
                <a16:creationId xmlns:a16="http://schemas.microsoft.com/office/drawing/2014/main" id="{E0809DBD-A301-0ED9-DCC9-EDBF1E5C47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0592" y="4530606"/>
            <a:ext cx="1735332" cy="6068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04" name="Picture 56">
            <a:extLst>
              <a:ext uri="{FF2B5EF4-FFF2-40B4-BE49-F238E27FC236}">
                <a16:creationId xmlns:a16="http://schemas.microsoft.com/office/drawing/2014/main" id="{FC2142D1-A2B4-F375-78C5-EDBB4165D4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3051" y="5464998"/>
            <a:ext cx="1028807" cy="10288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06" name="Picture 58">
            <a:extLst>
              <a:ext uri="{FF2B5EF4-FFF2-40B4-BE49-F238E27FC236}">
                <a16:creationId xmlns:a16="http://schemas.microsoft.com/office/drawing/2014/main" id="{43C67A0B-7CBE-7F44-74DD-C2C28D6810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7807" y="5632265"/>
            <a:ext cx="1533573" cy="538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08" name="Picture 60">
            <a:extLst>
              <a:ext uri="{FF2B5EF4-FFF2-40B4-BE49-F238E27FC236}">
                <a16:creationId xmlns:a16="http://schemas.microsoft.com/office/drawing/2014/main" id="{1C535A76-D69E-2944-6383-3FBDE7EF16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2040" y="5614823"/>
            <a:ext cx="1525579" cy="606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10" name="Picture 62">
            <a:extLst>
              <a:ext uri="{FF2B5EF4-FFF2-40B4-BE49-F238E27FC236}">
                <a16:creationId xmlns:a16="http://schemas.microsoft.com/office/drawing/2014/main" id="{7DD3DC01-0865-3599-EB14-96C1A5A1FD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6653" y="4972113"/>
            <a:ext cx="1772303" cy="529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12" name="Picture 64">
            <a:extLst>
              <a:ext uri="{FF2B5EF4-FFF2-40B4-BE49-F238E27FC236}">
                <a16:creationId xmlns:a16="http://schemas.microsoft.com/office/drawing/2014/main" id="{7C318982-9B1E-A449-DC79-18B57570F7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21729" y="5384176"/>
            <a:ext cx="1108465" cy="783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14" name="Picture 66">
            <a:extLst>
              <a:ext uri="{FF2B5EF4-FFF2-40B4-BE49-F238E27FC236}">
                <a16:creationId xmlns:a16="http://schemas.microsoft.com/office/drawing/2014/main" id="{965EB9E1-DA5A-7FF5-52C8-79D16833D3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878" y="1106575"/>
            <a:ext cx="1139117" cy="654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16" name="Picture 68">
            <a:extLst>
              <a:ext uri="{FF2B5EF4-FFF2-40B4-BE49-F238E27FC236}">
                <a16:creationId xmlns:a16="http://schemas.microsoft.com/office/drawing/2014/main" id="{538A6AA6-6DAF-8FAC-ADBD-314D4278A9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0469" y="2307646"/>
            <a:ext cx="1637201" cy="729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8A484D76-87D6-166B-DBF0-761C47F5B5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900" y="155575"/>
            <a:ext cx="10080625" cy="565150"/>
          </a:xfrm>
        </p:spPr>
        <p:txBody>
          <a:bodyPr/>
          <a:lstStyle/>
          <a:p>
            <a:r>
              <a:rPr lang="en-GB" dirty="0"/>
              <a:t>Supported InCubed Upstream Companies</a:t>
            </a:r>
          </a:p>
        </p:txBody>
      </p:sp>
    </p:spTree>
    <p:extLst>
      <p:ext uri="{BB962C8B-B14F-4D97-AF65-F5344CB8AC3E}">
        <p14:creationId xmlns:p14="http://schemas.microsoft.com/office/powerpoint/2010/main" val="12836551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759A77-64D0-4C5F-4BA1-BD96393E67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410" y="-76235"/>
            <a:ext cx="10611078" cy="1043586"/>
          </a:xfrm>
        </p:spPr>
        <p:txBody>
          <a:bodyPr/>
          <a:lstStyle/>
          <a:p>
            <a:r>
              <a:rPr lang="en-IT" sz="3191" dirty="0">
                <a:solidFill>
                  <a:schemeClr val="bg1"/>
                </a:solidFill>
              </a:rPr>
              <a:t>InCubed </a:t>
            </a:r>
            <a:r>
              <a:rPr lang="en-GB" sz="3191" dirty="0">
                <a:solidFill>
                  <a:schemeClr val="bg1"/>
                </a:solidFill>
              </a:rPr>
              <a:t>impacts to the EO commercial industry </a:t>
            </a:r>
            <a:br>
              <a:rPr lang="en-GB" sz="3191" dirty="0">
                <a:solidFill>
                  <a:schemeClr val="bg1"/>
                </a:solidFill>
              </a:rPr>
            </a:br>
            <a:r>
              <a:rPr lang="en-GB" dirty="0">
                <a:solidFill>
                  <a:schemeClr val="bg1"/>
                </a:solidFill>
              </a:rPr>
              <a:t>InCubed, ScaleUp, and CCM synergetic pipeline</a:t>
            </a:r>
          </a:p>
        </p:txBody>
      </p:sp>
      <p:pic>
        <p:nvPicPr>
          <p:cNvPr id="4" name="Picture 3" descr="A map of the earth&#10;&#10;Description automatically generated">
            <a:extLst>
              <a:ext uri="{FF2B5EF4-FFF2-40B4-BE49-F238E27FC236}">
                <a16:creationId xmlns:a16="http://schemas.microsoft.com/office/drawing/2014/main" id="{0130304D-D9F4-8BE6-1008-DC819311F5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5410" y="1433378"/>
            <a:ext cx="8015685" cy="450882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A73F3F-A682-6B0D-9D7B-2AEB397BE0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31095" y="1364887"/>
            <a:ext cx="3800628" cy="5078489"/>
          </a:xfrm>
        </p:spPr>
        <p:txBody>
          <a:bodyPr>
            <a:normAutofit fontScale="77500" lnSpcReduction="20000"/>
          </a:bodyPr>
          <a:lstStyle/>
          <a:p>
            <a:pPr>
              <a:lnSpc>
                <a:spcPct val="120000"/>
              </a:lnSpc>
            </a:pPr>
            <a:r>
              <a:rPr lang="en-GB" sz="2394" dirty="0">
                <a:latin typeface="+mn-lt"/>
                <a:ea typeface="SimSun" panose="02010600030101010101" pitchFamily="2" charset="-122"/>
              </a:rPr>
              <a:t>Five InCubed companies have been awarded with a CCM contract providing quality data for operational public needs within the Copernicus framework</a:t>
            </a:r>
          </a:p>
          <a:p>
            <a:pPr>
              <a:lnSpc>
                <a:spcPct val="120000"/>
              </a:lnSpc>
            </a:pPr>
            <a:r>
              <a:rPr lang="en-GB" sz="2394" dirty="0">
                <a:latin typeface="+mn-lt"/>
                <a:ea typeface="SimSun" panose="02010600030101010101" pitchFamily="2" charset="-122"/>
              </a:rPr>
              <a:t>Two others (ConstellIR and ReOrbit) have qualified also for ScaleUp Invest step1 for scaling up their service</a:t>
            </a:r>
          </a:p>
          <a:p>
            <a:pPr>
              <a:lnSpc>
                <a:spcPct val="120000"/>
              </a:lnSpc>
            </a:pPr>
            <a:r>
              <a:rPr lang="en-GB" sz="2394" dirty="0">
                <a:latin typeface="+mn-lt"/>
                <a:ea typeface="SimSun" panose="02010600030101010101" pitchFamily="2" charset="-122"/>
              </a:rPr>
              <a:t>The success of these InCubed companies is a testament to the value of what small emerging European companies are doing with the support of the different teams at ESA</a:t>
            </a:r>
            <a:endParaRPr lang="en-IT" sz="2394" dirty="0">
              <a:latin typeface="+mn-lt"/>
              <a:ea typeface="SimSun" panose="02010600030101010101" pitchFamily="2" charset="-122"/>
            </a:endParaRPr>
          </a:p>
        </p:txBody>
      </p:sp>
      <p:sp>
        <p:nvSpPr>
          <p:cNvPr id="10" name="Right Arrow 9">
            <a:extLst>
              <a:ext uri="{FF2B5EF4-FFF2-40B4-BE49-F238E27FC236}">
                <a16:creationId xmlns:a16="http://schemas.microsoft.com/office/drawing/2014/main" id="{453C17AE-B250-3978-1A4A-A0A4C0596998}"/>
              </a:ext>
            </a:extLst>
          </p:cNvPr>
          <p:cNvSpPr/>
          <p:nvPr/>
        </p:nvSpPr>
        <p:spPr>
          <a:xfrm rot="8852740">
            <a:off x="7259820" y="4304927"/>
            <a:ext cx="681683" cy="194958"/>
          </a:xfrm>
          <a:prstGeom prst="rightArrow">
            <a:avLst>
              <a:gd name="adj1" fmla="val 27181"/>
              <a:gd name="adj2" fmla="val 154104"/>
            </a:avLst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T" sz="1795"/>
          </a:p>
        </p:txBody>
      </p:sp>
      <p:sp>
        <p:nvSpPr>
          <p:cNvPr id="11" name="Right Arrow 10">
            <a:extLst>
              <a:ext uri="{FF2B5EF4-FFF2-40B4-BE49-F238E27FC236}">
                <a16:creationId xmlns:a16="http://schemas.microsoft.com/office/drawing/2014/main" id="{39B6E740-773B-CCF7-FD9F-707C64A25716}"/>
              </a:ext>
            </a:extLst>
          </p:cNvPr>
          <p:cNvSpPr/>
          <p:nvPr/>
        </p:nvSpPr>
        <p:spPr>
          <a:xfrm rot="8852740">
            <a:off x="7909881" y="4196825"/>
            <a:ext cx="681683" cy="194958"/>
          </a:xfrm>
          <a:prstGeom prst="rightArrow">
            <a:avLst>
              <a:gd name="adj1" fmla="val 27181"/>
              <a:gd name="adj2" fmla="val 154104"/>
            </a:avLst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T" sz="1795"/>
          </a:p>
        </p:txBody>
      </p:sp>
      <p:sp>
        <p:nvSpPr>
          <p:cNvPr id="12" name="Right Arrow 11">
            <a:extLst>
              <a:ext uri="{FF2B5EF4-FFF2-40B4-BE49-F238E27FC236}">
                <a16:creationId xmlns:a16="http://schemas.microsoft.com/office/drawing/2014/main" id="{F76CB8B4-D87A-D783-8C6B-4184F1DF2E32}"/>
              </a:ext>
            </a:extLst>
          </p:cNvPr>
          <p:cNvSpPr/>
          <p:nvPr/>
        </p:nvSpPr>
        <p:spPr>
          <a:xfrm rot="8852740">
            <a:off x="6607119" y="4767377"/>
            <a:ext cx="531734" cy="194958"/>
          </a:xfrm>
          <a:prstGeom prst="rightArrow">
            <a:avLst>
              <a:gd name="adj1" fmla="val 27181"/>
              <a:gd name="adj2" fmla="val 154104"/>
            </a:avLst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T" sz="1795"/>
          </a:p>
        </p:txBody>
      </p:sp>
      <p:sp>
        <p:nvSpPr>
          <p:cNvPr id="13" name="Right Arrow 12">
            <a:extLst>
              <a:ext uri="{FF2B5EF4-FFF2-40B4-BE49-F238E27FC236}">
                <a16:creationId xmlns:a16="http://schemas.microsoft.com/office/drawing/2014/main" id="{3B4C7448-BDFD-E00A-F7A0-0AFD2F1D7919}"/>
              </a:ext>
            </a:extLst>
          </p:cNvPr>
          <p:cNvSpPr/>
          <p:nvPr/>
        </p:nvSpPr>
        <p:spPr>
          <a:xfrm rot="8852740">
            <a:off x="7530707" y="4869493"/>
            <a:ext cx="681683" cy="194958"/>
          </a:xfrm>
          <a:prstGeom prst="rightArrow">
            <a:avLst>
              <a:gd name="adj1" fmla="val 27181"/>
              <a:gd name="adj2" fmla="val 154104"/>
            </a:avLst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T" sz="1795"/>
          </a:p>
        </p:txBody>
      </p:sp>
      <p:sp>
        <p:nvSpPr>
          <p:cNvPr id="14" name="Right Arrow 13">
            <a:extLst>
              <a:ext uri="{FF2B5EF4-FFF2-40B4-BE49-F238E27FC236}">
                <a16:creationId xmlns:a16="http://schemas.microsoft.com/office/drawing/2014/main" id="{56BBFE50-F289-5BFF-2186-4383482389A2}"/>
              </a:ext>
            </a:extLst>
          </p:cNvPr>
          <p:cNvSpPr/>
          <p:nvPr/>
        </p:nvSpPr>
        <p:spPr>
          <a:xfrm rot="8852740">
            <a:off x="7617810" y="4545342"/>
            <a:ext cx="681683" cy="194958"/>
          </a:xfrm>
          <a:prstGeom prst="rightArrow">
            <a:avLst>
              <a:gd name="adj1" fmla="val 27181"/>
              <a:gd name="adj2" fmla="val 154104"/>
            </a:avLst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T" sz="1795"/>
          </a:p>
        </p:txBody>
      </p:sp>
      <p:sp>
        <p:nvSpPr>
          <p:cNvPr id="15" name="Right Arrow 14">
            <a:extLst>
              <a:ext uri="{FF2B5EF4-FFF2-40B4-BE49-F238E27FC236}">
                <a16:creationId xmlns:a16="http://schemas.microsoft.com/office/drawing/2014/main" id="{7F7D0CF9-1B96-2837-49E4-F82868E48220}"/>
              </a:ext>
            </a:extLst>
          </p:cNvPr>
          <p:cNvSpPr/>
          <p:nvPr/>
        </p:nvSpPr>
        <p:spPr>
          <a:xfrm>
            <a:off x="128629" y="1810697"/>
            <a:ext cx="341311" cy="97613"/>
          </a:xfrm>
          <a:prstGeom prst="rightArrow">
            <a:avLst>
              <a:gd name="adj1" fmla="val 27181"/>
              <a:gd name="adj2" fmla="val 154104"/>
            </a:avLst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T" sz="1795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48B5F83-017E-F0E7-DFDB-7E01458F0530}"/>
              </a:ext>
            </a:extLst>
          </p:cNvPr>
          <p:cNvSpPr txBox="1"/>
          <p:nvPr/>
        </p:nvSpPr>
        <p:spPr>
          <a:xfrm>
            <a:off x="430779" y="1769501"/>
            <a:ext cx="799636" cy="1841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IT" sz="598" b="1">
                <a:solidFill>
                  <a:schemeClr val="bg1"/>
                </a:solidFill>
                <a:latin typeface="NotesEsa" panose="02000506030000020004" pitchFamily="2" charset="77"/>
                <a:ea typeface="MS PGothic" pitchFamily="34" charset="-128"/>
                <a:cs typeface="Niramit" pitchFamily="2" charset="-34"/>
              </a:rPr>
              <a:t>InCubed supported</a:t>
            </a:r>
          </a:p>
        </p:txBody>
      </p:sp>
    </p:spTree>
    <p:extLst>
      <p:ext uri="{BB962C8B-B14F-4D97-AF65-F5344CB8AC3E}">
        <p14:creationId xmlns:p14="http://schemas.microsoft.com/office/powerpoint/2010/main" val="40759720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8D4FBD60-8DC3-29CF-9383-24078C047C0E}"/>
              </a:ext>
            </a:extLst>
          </p:cNvPr>
          <p:cNvGrpSpPr/>
          <p:nvPr/>
        </p:nvGrpSpPr>
        <p:grpSpPr>
          <a:xfrm>
            <a:off x="3279001" y="838101"/>
            <a:ext cx="5491785" cy="5816979"/>
            <a:chOff x="6524659" y="1676197"/>
            <a:chExt cx="10983570" cy="11633957"/>
          </a:xfrm>
        </p:grpSpPr>
        <p:sp>
          <p:nvSpPr>
            <p:cNvPr id="8" name="Content Placeholder 2">
              <a:extLst>
                <a:ext uri="{FF2B5EF4-FFF2-40B4-BE49-F238E27FC236}">
                  <a16:creationId xmlns:a16="http://schemas.microsoft.com/office/drawing/2014/main" id="{5C9D4FB9-C1C7-FD7E-DD5E-57A8F165B8E1}"/>
                </a:ext>
              </a:extLst>
            </p:cNvPr>
            <p:cNvSpPr txBox="1">
              <a:spLocks/>
            </p:cNvSpPr>
            <p:nvPr/>
          </p:nvSpPr>
          <p:spPr>
            <a:xfrm>
              <a:off x="6524659" y="10378702"/>
              <a:ext cx="10853170" cy="293145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lIns="60959" tIns="60959" rIns="60959" bIns="60959" anchor="ctr">
              <a:normAutofit fontScale="92500" lnSpcReduction="20000"/>
            </a:bodyPr>
            <a:lstStyle>
              <a:lvl1pPr marL="182563" marR="0" indent="-182563" algn="l" defTabSz="914400" rtl="0" latinLnBrk="0">
                <a:lnSpc>
                  <a:spcPct val="119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 b="1" i="0" u="none" strike="noStrike" cap="none" spc="0" baseline="0" dirty="0" smtClean="0">
                  <a:ln>
                    <a:noFill/>
                  </a:ln>
                  <a:solidFill>
                    <a:srgbClr val="0070C0"/>
                  </a:solidFill>
                  <a:uFillTx/>
                  <a:latin typeface="+mn-ea"/>
                  <a:ea typeface="Helvetica Neue" panose="02000503000000020004" pitchFamily="2" charset="0"/>
                  <a:cs typeface="Helvetica Neue" panose="02000503000000020004" pitchFamily="2" charset="0"/>
                  <a:sym typeface="Verdana"/>
                </a:defRPr>
              </a:lvl1pPr>
              <a:lvl2pPr marL="271463" marR="0" indent="-131763" algn="l" defTabSz="914400" rtl="0" latinLnBrk="0">
                <a:lnSpc>
                  <a:spcPct val="119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 sz="1000" b="0" i="0" u="none" strike="noStrike" cap="none" spc="0" baseline="0" dirty="0">
                  <a:ln>
                    <a:noFill/>
                  </a:ln>
                  <a:solidFill>
                    <a:schemeClr val="tx1"/>
                  </a:solidFill>
                  <a:uFillTx/>
                  <a:latin typeface="+mn-ea"/>
                  <a:ea typeface="+mn-ea"/>
                  <a:cs typeface="Helvetica Neue" panose="02000503000000020004" pitchFamily="2" charset="0"/>
                  <a:sym typeface="Verdana"/>
                </a:defRPr>
              </a:lvl2pPr>
              <a:lvl3pPr marL="557213" marR="0" indent="-285750" algn="l" defTabSz="914400" rtl="0" latinLnBrk="0">
                <a:lnSpc>
                  <a:spcPct val="119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200" b="0" i="0" u="none" strike="noStrike" cap="none" spc="0" baseline="0">
                  <a:ln>
                    <a:noFill/>
                  </a:ln>
                  <a:solidFill>
                    <a:srgbClr val="4D4F53"/>
                  </a:solidFill>
                  <a:uFillTx/>
                  <a:latin typeface="Verdana"/>
                  <a:ea typeface="Verdana"/>
                  <a:cs typeface="Verdana"/>
                  <a:sym typeface="Verdana"/>
                </a:defRPr>
              </a:lvl3pPr>
              <a:lvl4pPr marL="273014" marR="0" indent="1731934" algn="l" defTabSz="914400" rtl="0" latinLnBrk="0">
                <a:lnSpc>
                  <a:spcPct val="119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0" i="0" u="none" strike="noStrike" cap="none" spc="0" baseline="0">
                  <a:ln>
                    <a:noFill/>
                  </a:ln>
                  <a:solidFill>
                    <a:srgbClr val="4D4F53"/>
                  </a:solidFill>
                  <a:uFillTx/>
                  <a:latin typeface="Verdana"/>
                  <a:ea typeface="Verdana"/>
                  <a:cs typeface="Verdana"/>
                  <a:sym typeface="Verdana"/>
                </a:defRPr>
              </a:lvl4pPr>
              <a:lvl5pPr marL="273014" marR="0" indent="2329460" algn="l" defTabSz="914400" rtl="0" latinLnBrk="0">
                <a:lnSpc>
                  <a:spcPct val="119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400" b="0" i="0" u="none" strike="noStrike" cap="none" spc="0" baseline="0">
                  <a:ln>
                    <a:noFill/>
                  </a:ln>
                  <a:solidFill>
                    <a:srgbClr val="4D4F53"/>
                  </a:solidFill>
                  <a:uFillTx/>
                  <a:latin typeface="Verdana"/>
                  <a:ea typeface="Verdana"/>
                  <a:cs typeface="Verdana"/>
                  <a:sym typeface="Verdana"/>
                </a:defRPr>
              </a:lvl5pPr>
              <a:lvl6pPr marL="3479365" marR="0" indent="-419048" algn="l" defTabSz="914400" rtl="0" latinLnBrk="0">
                <a:lnSpc>
                  <a:spcPct val="119000"/>
                </a:lnSpc>
                <a:spcBef>
                  <a:spcPts val="300"/>
                </a:spcBef>
                <a:spcAft>
                  <a:spcPts val="0"/>
                </a:spcAft>
                <a:buClrTx/>
                <a:buSzPct val="100000"/>
                <a:buFontTx/>
                <a:buChar char="–"/>
                <a:tabLst/>
                <a:defRPr sz="1600" b="0" i="0" u="none" strike="noStrike" cap="none" spc="0" baseline="0">
                  <a:ln>
                    <a:noFill/>
                  </a:ln>
                  <a:solidFill>
                    <a:srgbClr val="4D4F53"/>
                  </a:solidFill>
                  <a:uFillTx/>
                  <a:latin typeface="Verdana"/>
                  <a:ea typeface="Verdana"/>
                  <a:cs typeface="Verdana"/>
                  <a:sym typeface="Verdana"/>
                </a:defRPr>
              </a:lvl6pPr>
              <a:lvl7pPr marL="3936510" marR="0" indent="-419048" algn="l" defTabSz="914400" rtl="0" latinLnBrk="0">
                <a:lnSpc>
                  <a:spcPct val="119000"/>
                </a:lnSpc>
                <a:spcBef>
                  <a:spcPts val="300"/>
                </a:spcBef>
                <a:spcAft>
                  <a:spcPts val="0"/>
                </a:spcAft>
                <a:buClrTx/>
                <a:buSzPct val="100000"/>
                <a:buFontTx/>
                <a:buChar char="–"/>
                <a:tabLst/>
                <a:defRPr sz="1600" b="0" i="0" u="none" strike="noStrike" cap="none" spc="0" baseline="0">
                  <a:ln>
                    <a:noFill/>
                  </a:ln>
                  <a:solidFill>
                    <a:srgbClr val="4D4F53"/>
                  </a:solidFill>
                  <a:uFillTx/>
                  <a:latin typeface="Verdana"/>
                  <a:ea typeface="Verdana"/>
                  <a:cs typeface="Verdana"/>
                  <a:sym typeface="Verdana"/>
                </a:defRPr>
              </a:lvl7pPr>
              <a:lvl8pPr marL="4393650" marR="0" indent="-419048" algn="l" defTabSz="914400" rtl="0" latinLnBrk="0">
                <a:lnSpc>
                  <a:spcPct val="119000"/>
                </a:lnSpc>
                <a:spcBef>
                  <a:spcPts val="300"/>
                </a:spcBef>
                <a:spcAft>
                  <a:spcPts val="0"/>
                </a:spcAft>
                <a:buClrTx/>
                <a:buSzPct val="100000"/>
                <a:buFontTx/>
                <a:buChar char="–"/>
                <a:tabLst/>
                <a:defRPr sz="1600" b="0" i="0" u="none" strike="noStrike" cap="none" spc="0" baseline="0">
                  <a:ln>
                    <a:noFill/>
                  </a:ln>
                  <a:solidFill>
                    <a:srgbClr val="4D4F53"/>
                  </a:solidFill>
                  <a:uFillTx/>
                  <a:latin typeface="Verdana"/>
                  <a:ea typeface="Verdana"/>
                  <a:cs typeface="Verdana"/>
                  <a:sym typeface="Verdana"/>
                </a:defRPr>
              </a:lvl8pPr>
              <a:lvl9pPr marL="4850794" marR="0" indent="-419048" algn="l" defTabSz="914400" rtl="0" latinLnBrk="0">
                <a:lnSpc>
                  <a:spcPct val="119000"/>
                </a:lnSpc>
                <a:spcBef>
                  <a:spcPts val="300"/>
                </a:spcBef>
                <a:spcAft>
                  <a:spcPts val="0"/>
                </a:spcAft>
                <a:buClrTx/>
                <a:buSzPct val="100000"/>
                <a:buFontTx/>
                <a:buChar char="–"/>
                <a:tabLst/>
                <a:defRPr sz="1600" b="0" i="0" u="none" strike="noStrike" cap="none" spc="0" baseline="0">
                  <a:ln>
                    <a:noFill/>
                  </a:ln>
                  <a:solidFill>
                    <a:srgbClr val="4D4F53"/>
                  </a:solidFill>
                  <a:uFillTx/>
                  <a:latin typeface="Verdana"/>
                  <a:ea typeface="Verdana"/>
                  <a:cs typeface="Verdana"/>
                  <a:sym typeface="Verdana"/>
                </a:defRPr>
              </a:lvl9pPr>
            </a:lstStyle>
            <a:p>
              <a:pPr marL="241297" indent="0" algn="ctr" eaLnBrk="0">
                <a:buClr>
                  <a:srgbClr val="FEFFFF"/>
                </a:buClr>
              </a:pPr>
              <a:r>
                <a:rPr lang="en-GB" sz="1600" b="0" dirty="0">
                  <a:solidFill>
                    <a:srgbClr val="00AE9D"/>
                  </a:solidFill>
                  <a:latin typeface="Gill Sans Light" panose="020B0302020104020203" pitchFamily="34" charset="-79"/>
                  <a:ea typeface="Verdana" panose="020B0604030504040204" pitchFamily="34" charset="0"/>
                  <a:cs typeface="Gill Sans Light" panose="020B0302020104020203" pitchFamily="34" charset="-79"/>
                </a:rPr>
                <a:t>To know more</a:t>
              </a:r>
              <a:r>
                <a:rPr lang="en-GB" sz="1600" b="0" dirty="0">
                  <a:solidFill>
                    <a:srgbClr val="00AE9D"/>
                  </a:solidFill>
                  <a:latin typeface="Gill Sans Light" panose="020B0302020104020203" pitchFamily="34" charset="-79"/>
                  <a:cs typeface="Gill Sans Light" panose="020B0302020104020203" pitchFamily="34" charset="-79"/>
                </a:rPr>
                <a:t>, visit our website:</a:t>
              </a:r>
            </a:p>
            <a:p>
              <a:pPr marL="241297" indent="0" algn="ctr" eaLnBrk="0">
                <a:buClr>
                  <a:srgbClr val="FEFFFF"/>
                </a:buClr>
              </a:pPr>
              <a:r>
                <a:rPr lang="en-GB" sz="1600" b="0" dirty="0">
                  <a:solidFill>
                    <a:srgbClr val="335E6F"/>
                  </a:solidFill>
                  <a:latin typeface="Gill Sans Light" panose="020B0302020104020203" pitchFamily="34" charset="-79"/>
                  <a:ea typeface="Verdana" panose="020B0604030504040204" pitchFamily="34" charset="0"/>
                  <a:cs typeface="Gill Sans Light" panose="020B0302020104020203" pitchFamily="34" charset="-79"/>
                  <a:hlinkClick r:id="rId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philab.esa.int</a:t>
              </a:r>
              <a:endParaRPr lang="en-GB" sz="1600" b="0" dirty="0">
                <a:solidFill>
                  <a:srgbClr val="335E6F"/>
                </a:solidFill>
                <a:latin typeface="Gill Sans Light" panose="020B0302020104020203" pitchFamily="34" charset="-79"/>
                <a:ea typeface="Verdana" panose="020B0604030504040204" pitchFamily="34" charset="0"/>
                <a:cs typeface="Gill Sans Light" panose="020B0302020104020203" pitchFamily="34" charset="-79"/>
              </a:endParaRPr>
            </a:p>
            <a:p>
              <a:pPr marL="241297" indent="0" algn="ctr" eaLnBrk="0">
                <a:buClr>
                  <a:srgbClr val="FEFFFF"/>
                </a:buClr>
              </a:pPr>
              <a:r>
                <a:rPr lang="en-GB" sz="1600" b="0" u="sng" dirty="0">
                  <a:solidFill>
                    <a:srgbClr val="335E6F"/>
                  </a:solidFill>
                  <a:latin typeface="Gill Sans Light" panose="020B0302020104020203" pitchFamily="34" charset="-79"/>
                  <a:ea typeface="Verdana" panose="020B0604030504040204" pitchFamily="34" charset="0"/>
                  <a:cs typeface="Gill Sans Light" panose="020B0302020104020203" pitchFamily="34" charset="-79"/>
                </a:rPr>
                <a:t>https://</a:t>
              </a:r>
              <a:r>
                <a:rPr lang="en-GB" sz="1600" b="0" u="sng" dirty="0" err="1">
                  <a:solidFill>
                    <a:srgbClr val="335E6F"/>
                  </a:solidFill>
                  <a:latin typeface="Gill Sans Light" panose="020B0302020104020203" pitchFamily="34" charset="-79"/>
                  <a:ea typeface="Verdana" panose="020B0604030504040204" pitchFamily="34" charset="0"/>
                  <a:cs typeface="Gill Sans Light" panose="020B0302020104020203" pitchFamily="34" charset="-79"/>
                </a:rPr>
                <a:t>incubed.esa.int</a:t>
              </a:r>
              <a:endParaRPr lang="en-GB" sz="1600" b="0" u="sng" dirty="0">
                <a:solidFill>
                  <a:srgbClr val="335E6F"/>
                </a:solidFill>
                <a:latin typeface="Gill Sans Light" panose="020B0302020104020203" pitchFamily="34" charset="-79"/>
                <a:ea typeface="Verdana" panose="020B0604030504040204" pitchFamily="34" charset="0"/>
                <a:cs typeface="Gill Sans Light" panose="020B0302020104020203" pitchFamily="34" charset="-79"/>
              </a:endParaRPr>
            </a:p>
            <a:p>
              <a:pPr marL="241297" indent="0" algn="ctr" eaLnBrk="0">
                <a:buClr>
                  <a:srgbClr val="FEFFFF"/>
                </a:buClr>
              </a:pPr>
              <a:endParaRPr lang="en-GB" sz="1600" b="0" dirty="0">
                <a:solidFill>
                  <a:srgbClr val="335E6F"/>
                </a:solidFill>
                <a:latin typeface="Gill Sans Light" panose="020B0302020104020203" pitchFamily="34" charset="-79"/>
                <a:ea typeface="Verdana" panose="020B0604030504040204" pitchFamily="34" charset="0"/>
                <a:cs typeface="Gill Sans Light" panose="020B0302020104020203" pitchFamily="34" charset="-79"/>
              </a:endParaRPr>
            </a:p>
            <a:p>
              <a:pPr marL="241297" indent="0" algn="ctr" eaLnBrk="0">
                <a:buClr>
                  <a:srgbClr val="FEFFFF"/>
                </a:buClr>
              </a:pPr>
              <a:r>
                <a:rPr lang="en-GB" sz="1600" b="0" dirty="0">
                  <a:solidFill>
                    <a:srgbClr val="335E6F"/>
                  </a:solidFill>
                  <a:latin typeface="Gill Sans Light" panose="020B0302020104020203" pitchFamily="34" charset="-79"/>
                  <a:ea typeface="Verdana" panose="020B0604030504040204" pitchFamily="34" charset="0"/>
                  <a:cs typeface="Gill Sans Light" panose="020B0302020104020203" pitchFamily="34" charset="-79"/>
                </a:rPr>
                <a:t>   </a:t>
              </a:r>
              <a:endParaRPr lang="en-GB" sz="2000" b="0" dirty="0">
                <a:solidFill>
                  <a:srgbClr val="335E6F"/>
                </a:solidFill>
                <a:latin typeface="Gill Sans Light" panose="020B0302020104020203" pitchFamily="34" charset="-79"/>
                <a:ea typeface="Verdana" panose="020B0604030504040204" pitchFamily="34" charset="0"/>
                <a:cs typeface="Gill Sans Light" panose="020B0302020104020203" pitchFamily="34" charset="-79"/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85B97AA8-4D6A-DEED-6E71-8EBF464689F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152081" y="6525007"/>
              <a:ext cx="3598330" cy="359833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0ACFF38-43CA-8615-E246-B622EB8DDA20}"/>
                </a:ext>
              </a:extLst>
            </p:cNvPr>
            <p:cNvSpPr/>
            <p:nvPr/>
          </p:nvSpPr>
          <p:spPr>
            <a:xfrm>
              <a:off x="6872529" y="1676197"/>
              <a:ext cx="10635700" cy="498598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6351" algn="ctr" eaLnBrk="0">
                <a:buClr>
                  <a:srgbClr val="FEFFFF"/>
                </a:buClr>
              </a:pPr>
              <a:r>
                <a:rPr lang="en-GB" sz="3300" dirty="0">
                  <a:solidFill>
                    <a:srgbClr val="335E6F"/>
                  </a:solidFill>
                  <a:latin typeface="Gill Sans" panose="020B0502020104020203" pitchFamily="34" charset="-79"/>
                  <a:ea typeface="Verdana" panose="020B0604030504040204" pitchFamily="34" charset="0"/>
                  <a:cs typeface="Gill Sans" panose="020B0502020104020203" pitchFamily="34" charset="-79"/>
                </a:rPr>
                <a:t>Thank you for your attention</a:t>
              </a:r>
            </a:p>
            <a:p>
              <a:pPr marL="6351" algn="ctr" eaLnBrk="0">
                <a:buClr>
                  <a:srgbClr val="FEFFFF"/>
                </a:buClr>
              </a:pPr>
              <a:r>
                <a:rPr lang="en-US" sz="2700" dirty="0">
                  <a:solidFill>
                    <a:srgbClr val="335E6F"/>
                  </a:solidFill>
                  <a:latin typeface="Gill Sans Light" panose="020B0302020104020203" pitchFamily="34" charset="-79"/>
                  <a:ea typeface="Verdana" panose="020B0604030504040204" pitchFamily="34" charset="0"/>
                  <a:cs typeface="Gill Sans Light" panose="020B0302020104020203" pitchFamily="34" charset="-79"/>
                  <a:sym typeface="Verdana"/>
                  <a:hlinkClick r:id="rId4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Michele.Castorina@esa.int</a:t>
              </a:r>
              <a:endParaRPr lang="en-US" sz="2700" dirty="0">
                <a:solidFill>
                  <a:srgbClr val="335E6F"/>
                </a:solidFill>
                <a:latin typeface="Gill Sans Light" panose="020B0302020104020203" pitchFamily="34" charset="-79"/>
                <a:ea typeface="Verdana" panose="020B0604030504040204" pitchFamily="34" charset="0"/>
                <a:cs typeface="Gill Sans Light" panose="020B0302020104020203" pitchFamily="34" charset="-79"/>
                <a:sym typeface="Verdana"/>
              </a:endParaRPr>
            </a:p>
            <a:p>
              <a:pPr marL="6351" eaLnBrk="0">
                <a:buClr>
                  <a:srgbClr val="FEFFFF"/>
                </a:buClr>
              </a:pPr>
              <a:endParaRPr lang="en-GB" sz="3300" dirty="0">
                <a:solidFill>
                  <a:srgbClr val="335E6F"/>
                </a:solidFill>
                <a:latin typeface="Gill Sans" panose="020B0502020104020203" pitchFamily="34" charset="-79"/>
                <a:ea typeface="Verdana" panose="020B0604030504040204" pitchFamily="34" charset="0"/>
                <a:cs typeface="Gill Sans" panose="020B0502020104020203" pitchFamily="34" charset="-79"/>
              </a:endParaRPr>
            </a:p>
            <a:p>
              <a:pPr marL="241297" eaLnBrk="0">
                <a:buClr>
                  <a:srgbClr val="FEFFFF"/>
                </a:buClr>
              </a:pPr>
              <a:endParaRPr lang="en-GB" sz="3000" dirty="0">
                <a:solidFill>
                  <a:srgbClr val="335E6F"/>
                </a:solidFill>
                <a:latin typeface="Gill Sans Light" panose="020B0302020104020203" pitchFamily="34" charset="-79"/>
                <a:ea typeface="Verdana" panose="020B0604030504040204" pitchFamily="34" charset="0"/>
                <a:cs typeface="Gill Sans Light" panose="020B0302020104020203" pitchFamily="34" charset="-79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924662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8E94633-F16E-CB5B-6E06-1C165742BA6D}"/>
              </a:ext>
            </a:extLst>
          </p:cNvPr>
          <p:cNvSpPr/>
          <p:nvPr/>
        </p:nvSpPr>
        <p:spPr>
          <a:xfrm>
            <a:off x="0" y="0"/>
            <a:ext cx="12192000" cy="6424397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Speech Bubble: Rectangle 4">
            <a:extLst>
              <a:ext uri="{FF2B5EF4-FFF2-40B4-BE49-F238E27FC236}">
                <a16:creationId xmlns:a16="http://schemas.microsoft.com/office/drawing/2014/main" id="{0FDF6D09-CB7D-D195-A0A6-13625923ACE5}"/>
              </a:ext>
            </a:extLst>
          </p:cNvPr>
          <p:cNvSpPr/>
          <p:nvPr/>
        </p:nvSpPr>
        <p:spPr>
          <a:xfrm>
            <a:off x="528494" y="1618441"/>
            <a:ext cx="2794387" cy="2857306"/>
          </a:xfrm>
          <a:prstGeom prst="wedgeRectCallout">
            <a:avLst>
              <a:gd name="adj1" fmla="val -49647"/>
              <a:gd name="adj2" fmla="val 41669"/>
            </a:avLst>
          </a:prstGeom>
          <a:solidFill>
            <a:srgbClr val="11BBFF">
              <a:alpha val="30196"/>
            </a:srgbClr>
          </a:solidFill>
          <a:ln w="9525"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GB" sz="1400" b="1" i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Speech Bubble: Rectangle 5">
            <a:extLst>
              <a:ext uri="{FF2B5EF4-FFF2-40B4-BE49-F238E27FC236}">
                <a16:creationId xmlns:a16="http://schemas.microsoft.com/office/drawing/2014/main" id="{A80E862C-A2F0-BC7A-4969-0827704C348D}"/>
              </a:ext>
            </a:extLst>
          </p:cNvPr>
          <p:cNvSpPr/>
          <p:nvPr/>
        </p:nvSpPr>
        <p:spPr>
          <a:xfrm>
            <a:off x="9232486" y="1618441"/>
            <a:ext cx="2238449" cy="2857306"/>
          </a:xfrm>
          <a:prstGeom prst="wedgeRectCallout">
            <a:avLst>
              <a:gd name="adj1" fmla="val -49647"/>
              <a:gd name="adj2" fmla="val 41669"/>
            </a:avLst>
          </a:prstGeom>
          <a:solidFill>
            <a:srgbClr val="11BBFF">
              <a:alpha val="30196"/>
            </a:srgbClr>
          </a:solidFill>
          <a:ln w="9525"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GB" sz="1400" b="1" i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Speech Bubble: Rectangle 6">
            <a:extLst>
              <a:ext uri="{FF2B5EF4-FFF2-40B4-BE49-F238E27FC236}">
                <a16:creationId xmlns:a16="http://schemas.microsoft.com/office/drawing/2014/main" id="{A13A885B-7C7B-F1AB-E780-F08200267BFB}"/>
              </a:ext>
            </a:extLst>
          </p:cNvPr>
          <p:cNvSpPr/>
          <p:nvPr/>
        </p:nvSpPr>
        <p:spPr>
          <a:xfrm>
            <a:off x="5956479" y="1626274"/>
            <a:ext cx="3126013" cy="2857307"/>
          </a:xfrm>
          <a:prstGeom prst="wedgeRectCallout">
            <a:avLst>
              <a:gd name="adj1" fmla="val -49647"/>
              <a:gd name="adj2" fmla="val 41669"/>
            </a:avLst>
          </a:prstGeom>
          <a:solidFill>
            <a:srgbClr val="11BBFF">
              <a:alpha val="30196"/>
            </a:srgbClr>
          </a:solidFill>
          <a:ln w="9525"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GB" sz="1400" b="1" i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Speech Bubble: Rectangle 7">
            <a:extLst>
              <a:ext uri="{FF2B5EF4-FFF2-40B4-BE49-F238E27FC236}">
                <a16:creationId xmlns:a16="http://schemas.microsoft.com/office/drawing/2014/main" id="{E680F849-79EF-1A39-BB5D-A6132871A1E3}"/>
              </a:ext>
            </a:extLst>
          </p:cNvPr>
          <p:cNvSpPr/>
          <p:nvPr/>
        </p:nvSpPr>
        <p:spPr>
          <a:xfrm>
            <a:off x="3457929" y="1626273"/>
            <a:ext cx="2359568" cy="2857307"/>
          </a:xfrm>
          <a:prstGeom prst="wedgeRectCallout">
            <a:avLst>
              <a:gd name="adj1" fmla="val -49647"/>
              <a:gd name="adj2" fmla="val 41669"/>
            </a:avLst>
          </a:prstGeom>
          <a:solidFill>
            <a:srgbClr val="11BBFF">
              <a:alpha val="30196"/>
            </a:srgbClr>
          </a:solidFill>
          <a:ln w="9525"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GB" sz="1400" b="1" i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Speech Bubble: Rectangle 8">
            <a:extLst>
              <a:ext uri="{FF2B5EF4-FFF2-40B4-BE49-F238E27FC236}">
                <a16:creationId xmlns:a16="http://schemas.microsoft.com/office/drawing/2014/main" id="{59DB50C2-4175-09AF-C3BE-464DB9CF01FC}"/>
              </a:ext>
            </a:extLst>
          </p:cNvPr>
          <p:cNvSpPr/>
          <p:nvPr/>
        </p:nvSpPr>
        <p:spPr>
          <a:xfrm>
            <a:off x="534495" y="1626273"/>
            <a:ext cx="2782384" cy="555093"/>
          </a:xfrm>
          <a:prstGeom prst="wedgeRectCallout">
            <a:avLst>
              <a:gd name="adj1" fmla="val -49647"/>
              <a:gd name="adj2" fmla="val 41669"/>
            </a:avLst>
          </a:prstGeom>
          <a:solidFill>
            <a:srgbClr val="0074A3"/>
          </a:solidFill>
          <a:ln w="9525"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A EOP as a </a:t>
            </a:r>
            <a:r>
              <a:rPr lang="en-GB" sz="1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USTOMER</a:t>
            </a:r>
          </a:p>
        </p:txBody>
      </p:sp>
      <p:sp>
        <p:nvSpPr>
          <p:cNvPr id="10" name="Speech Bubble: Rectangle 9">
            <a:extLst>
              <a:ext uri="{FF2B5EF4-FFF2-40B4-BE49-F238E27FC236}">
                <a16:creationId xmlns:a16="http://schemas.microsoft.com/office/drawing/2014/main" id="{E031E4B0-8937-B21E-1C71-CA716C0BE4F7}"/>
              </a:ext>
            </a:extLst>
          </p:cNvPr>
          <p:cNvSpPr/>
          <p:nvPr/>
        </p:nvSpPr>
        <p:spPr>
          <a:xfrm>
            <a:off x="9234183" y="1618438"/>
            <a:ext cx="2235055" cy="555093"/>
          </a:xfrm>
          <a:prstGeom prst="wedgeRectCallout">
            <a:avLst>
              <a:gd name="adj1" fmla="val -49647"/>
              <a:gd name="adj2" fmla="val 41669"/>
            </a:avLst>
          </a:prstGeom>
          <a:solidFill>
            <a:srgbClr val="11BBFF"/>
          </a:solidFill>
          <a:ln w="9525"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“Traditional” EOP R&amp;D </a:t>
            </a:r>
            <a:r>
              <a:rPr lang="en-GB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curement agency role</a:t>
            </a:r>
          </a:p>
        </p:txBody>
      </p:sp>
      <p:sp>
        <p:nvSpPr>
          <p:cNvPr id="11" name="Speech Bubble: Rectangle 10">
            <a:extLst>
              <a:ext uri="{FF2B5EF4-FFF2-40B4-BE49-F238E27FC236}">
                <a16:creationId xmlns:a16="http://schemas.microsoft.com/office/drawing/2014/main" id="{82EFDB68-1349-37F4-A104-F32B5F47FA62}"/>
              </a:ext>
            </a:extLst>
          </p:cNvPr>
          <p:cNvSpPr/>
          <p:nvPr/>
        </p:nvSpPr>
        <p:spPr>
          <a:xfrm>
            <a:off x="5961475" y="1632289"/>
            <a:ext cx="3115001" cy="555093"/>
          </a:xfrm>
          <a:prstGeom prst="wedgeRectCallout">
            <a:avLst>
              <a:gd name="adj1" fmla="val -49647"/>
              <a:gd name="adj2" fmla="val 41669"/>
            </a:avLst>
          </a:prstGeom>
          <a:solidFill>
            <a:srgbClr val="00A4E6"/>
          </a:solidFill>
          <a:ln w="9525"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A EOP as an </a:t>
            </a:r>
            <a:r>
              <a:rPr lang="en-GB" sz="1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ABLER</a:t>
            </a:r>
          </a:p>
        </p:txBody>
      </p:sp>
      <p:sp>
        <p:nvSpPr>
          <p:cNvPr id="12" name="Speech Bubble: Rectangle 11">
            <a:extLst>
              <a:ext uri="{FF2B5EF4-FFF2-40B4-BE49-F238E27FC236}">
                <a16:creationId xmlns:a16="http://schemas.microsoft.com/office/drawing/2014/main" id="{F21619C3-E4DD-DF3F-6376-23D9E4A0BEFA}"/>
              </a:ext>
            </a:extLst>
          </p:cNvPr>
          <p:cNvSpPr/>
          <p:nvPr/>
        </p:nvSpPr>
        <p:spPr>
          <a:xfrm>
            <a:off x="3471855" y="1632289"/>
            <a:ext cx="2333610" cy="555093"/>
          </a:xfrm>
          <a:prstGeom prst="wedgeRectCallout">
            <a:avLst>
              <a:gd name="adj1" fmla="val -49647"/>
              <a:gd name="adj2" fmla="val 41669"/>
            </a:avLst>
          </a:prstGeom>
          <a:solidFill>
            <a:srgbClr val="008CC4"/>
          </a:solidFill>
          <a:ln w="9525"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A EOP as a </a:t>
            </a:r>
            <a:r>
              <a:rPr lang="en-GB" sz="1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RTNE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D0333FC-A429-8DDF-9499-122CB5B79489}"/>
              </a:ext>
            </a:extLst>
          </p:cNvPr>
          <p:cNvSpPr txBox="1"/>
          <p:nvPr/>
        </p:nvSpPr>
        <p:spPr>
          <a:xfrm>
            <a:off x="9380418" y="2292109"/>
            <a:ext cx="194258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400" dirty="0">
                <a:solidFill>
                  <a:schemeClr val="bg1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Fully funded by ESA</a:t>
            </a:r>
          </a:p>
          <a:p>
            <a:pPr algn="ctr"/>
            <a:r>
              <a:rPr lang="en-GB" sz="1400" dirty="0">
                <a:solidFill>
                  <a:schemeClr val="bg1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“ New Space approach”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1F2FC77-8AD0-0CEF-ECF8-96A811D0B6F0}"/>
              </a:ext>
            </a:extLst>
          </p:cNvPr>
          <p:cNvSpPr txBox="1"/>
          <p:nvPr/>
        </p:nvSpPr>
        <p:spPr>
          <a:xfrm>
            <a:off x="6711796" y="2340051"/>
            <a:ext cx="161537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400" dirty="0">
                <a:solidFill>
                  <a:schemeClr val="bg1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Fully funded by ESA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1701ADB-97EC-A77F-231C-3FE8316C4875}"/>
              </a:ext>
            </a:extLst>
          </p:cNvPr>
          <p:cNvSpPr txBox="1"/>
          <p:nvPr/>
        </p:nvSpPr>
        <p:spPr>
          <a:xfrm>
            <a:off x="3653565" y="2280216"/>
            <a:ext cx="196829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400" dirty="0">
                <a:solidFill>
                  <a:schemeClr val="bg1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Co-funded </a:t>
            </a:r>
            <a:br>
              <a:rPr lang="en-GB" sz="1400" dirty="0">
                <a:solidFill>
                  <a:schemeClr val="bg1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</a:br>
            <a:r>
              <a:rPr lang="en-GB" sz="1400" dirty="0">
                <a:solidFill>
                  <a:schemeClr val="bg1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(generally with industry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6B47241-426C-A343-7FC1-DECF11174C7B}"/>
              </a:ext>
            </a:extLst>
          </p:cNvPr>
          <p:cNvSpPr txBox="1"/>
          <p:nvPr/>
        </p:nvSpPr>
        <p:spPr>
          <a:xfrm>
            <a:off x="877572" y="2283000"/>
            <a:ext cx="20962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>
                <a:solidFill>
                  <a:schemeClr val="bg1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Funded by ESA and/or </a:t>
            </a:r>
            <a:br>
              <a:rPr lang="en-GB" sz="1400" dirty="0">
                <a:solidFill>
                  <a:schemeClr val="bg1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</a:br>
            <a:r>
              <a:rPr lang="en-GB" sz="1400" dirty="0">
                <a:solidFill>
                  <a:schemeClr val="bg1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with a third-party partner</a:t>
            </a:r>
          </a:p>
        </p:txBody>
      </p:sp>
      <p:sp>
        <p:nvSpPr>
          <p:cNvPr id="17" name="Speech Bubble: Rectangle 16">
            <a:extLst>
              <a:ext uri="{FF2B5EF4-FFF2-40B4-BE49-F238E27FC236}">
                <a16:creationId xmlns:a16="http://schemas.microsoft.com/office/drawing/2014/main" id="{F47C9931-8EDA-488D-B48C-91E329DB6607}"/>
              </a:ext>
            </a:extLst>
          </p:cNvPr>
          <p:cNvSpPr/>
          <p:nvPr/>
        </p:nvSpPr>
        <p:spPr>
          <a:xfrm>
            <a:off x="642876" y="3003505"/>
            <a:ext cx="2565623" cy="1056691"/>
          </a:xfrm>
          <a:prstGeom prst="wedgeRectCallout">
            <a:avLst>
              <a:gd name="adj1" fmla="val -49647"/>
              <a:gd name="adj2" fmla="val 41669"/>
            </a:avLst>
          </a:prstGeom>
          <a:solidFill>
            <a:srgbClr val="0074A3"/>
          </a:solidFill>
          <a:ln w="38100">
            <a:solidFill>
              <a:srgbClr val="FFFF00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400" b="1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mercialisation through </a:t>
            </a:r>
            <a:br>
              <a:rPr lang="en-GB" sz="1400" b="1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GB" sz="1400" b="1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O Data Buy </a:t>
            </a:r>
            <a:br>
              <a:rPr lang="en-GB" sz="1400" b="1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GB" sz="1400" b="1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or science (Earthnet) </a:t>
            </a:r>
            <a:br>
              <a:rPr lang="en-GB" sz="1400" b="1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GB" sz="1400" b="1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amp; for operations (Copernicus)</a:t>
            </a:r>
          </a:p>
        </p:txBody>
      </p:sp>
      <p:sp>
        <p:nvSpPr>
          <p:cNvPr id="18" name="Speech Bubble: Rectangle 17">
            <a:extLst>
              <a:ext uri="{FF2B5EF4-FFF2-40B4-BE49-F238E27FC236}">
                <a16:creationId xmlns:a16="http://schemas.microsoft.com/office/drawing/2014/main" id="{0B3D1E60-616A-3B96-3D19-DD6D72E02A1C}"/>
              </a:ext>
            </a:extLst>
          </p:cNvPr>
          <p:cNvSpPr/>
          <p:nvPr/>
        </p:nvSpPr>
        <p:spPr>
          <a:xfrm>
            <a:off x="3702868" y="3003505"/>
            <a:ext cx="1869691" cy="1051060"/>
          </a:xfrm>
          <a:prstGeom prst="wedgeRectCallout">
            <a:avLst>
              <a:gd name="adj1" fmla="val -49647"/>
              <a:gd name="adj2" fmla="val 41669"/>
            </a:avLst>
          </a:prstGeom>
          <a:solidFill>
            <a:srgbClr val="008CC4"/>
          </a:solidFill>
          <a:ln w="38100">
            <a:solidFill>
              <a:srgbClr val="FFFF00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400" b="1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Cubed </a:t>
            </a:r>
          </a:p>
          <a:p>
            <a:pPr algn="ctr"/>
            <a:r>
              <a:rPr lang="en-GB" sz="1400" b="1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Earth Watch)</a:t>
            </a:r>
          </a:p>
        </p:txBody>
      </p:sp>
      <p:sp>
        <p:nvSpPr>
          <p:cNvPr id="19" name="Speech Bubble: Rectangle 18">
            <a:extLst>
              <a:ext uri="{FF2B5EF4-FFF2-40B4-BE49-F238E27FC236}">
                <a16:creationId xmlns:a16="http://schemas.microsoft.com/office/drawing/2014/main" id="{4F2C3754-9221-083A-9E1D-F8A2F91AA586}"/>
              </a:ext>
            </a:extLst>
          </p:cNvPr>
          <p:cNvSpPr/>
          <p:nvPr/>
        </p:nvSpPr>
        <p:spPr>
          <a:xfrm>
            <a:off x="3559224" y="4683649"/>
            <a:ext cx="2132913" cy="980006"/>
          </a:xfrm>
          <a:prstGeom prst="wedgeRectCallout">
            <a:avLst>
              <a:gd name="adj1" fmla="val -49647"/>
              <a:gd name="adj2" fmla="val 41669"/>
            </a:avLst>
          </a:prstGeom>
          <a:solidFill>
            <a:schemeClr val="accent6">
              <a:lumMod val="90000"/>
            </a:schemeClr>
          </a:solidFill>
          <a:ln w="38100">
            <a:solidFill>
              <a:srgbClr val="FFFF00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400" i="1" dirty="0">
                <a:solidFill>
                  <a:schemeClr val="accent6">
                    <a:lumMod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D/CIC]</a:t>
            </a: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en-GB" sz="1400" b="1" i="1" dirty="0">
                <a:solidFill>
                  <a:schemeClr val="accent6">
                    <a:lumMod val="1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BICs, Scale Up Invest</a:t>
            </a:r>
            <a:endParaRPr lang="en-GB" sz="1400" b="1" i="1" dirty="0">
              <a:solidFill>
                <a:schemeClr val="accent6">
                  <a:lumMod val="1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en-GB" sz="1400" b="1" i="1" dirty="0">
                <a:solidFill>
                  <a:schemeClr val="accent6">
                    <a:lumMod val="1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Business Applications </a:t>
            </a:r>
            <a:br>
              <a:rPr lang="en-GB" sz="1400" b="1" i="1" dirty="0">
                <a:solidFill>
                  <a:schemeClr val="accent6">
                    <a:lumMod val="1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GB" sz="1400" b="1" i="1" dirty="0">
                <a:solidFill>
                  <a:schemeClr val="accent6">
                    <a:lumMod val="1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&amp; Space Solutions (BASS)</a:t>
            </a:r>
          </a:p>
        </p:txBody>
      </p:sp>
      <p:sp>
        <p:nvSpPr>
          <p:cNvPr id="20" name="Speech Bubble: Rectangle 19">
            <a:extLst>
              <a:ext uri="{FF2B5EF4-FFF2-40B4-BE49-F238E27FC236}">
                <a16:creationId xmlns:a16="http://schemas.microsoft.com/office/drawing/2014/main" id="{C7C76E35-A3F4-3006-E698-020463257D73}"/>
              </a:ext>
            </a:extLst>
          </p:cNvPr>
          <p:cNvSpPr/>
          <p:nvPr/>
        </p:nvSpPr>
        <p:spPr>
          <a:xfrm>
            <a:off x="6055630" y="2717367"/>
            <a:ext cx="2927708" cy="1623335"/>
          </a:xfrm>
          <a:prstGeom prst="wedgeRectCallout">
            <a:avLst>
              <a:gd name="adj1" fmla="val -49647"/>
              <a:gd name="adj2" fmla="val 41669"/>
            </a:avLst>
          </a:prstGeom>
          <a:solidFill>
            <a:srgbClr val="00A4E6"/>
          </a:solidFill>
          <a:ln w="38100">
            <a:solidFill>
              <a:srgbClr val="FFFF00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400" b="1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tureEO</a:t>
            </a: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en-GB" sz="1400" b="1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lock 4 : Enabling downstream applications</a:t>
            </a: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en-GB" sz="1400" b="1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lock 3: Enabling commercialisation with GS &amp; data management</a:t>
            </a: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en-GB" sz="1400" b="1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lock 1 : Commercialisation with upstream technology</a:t>
            </a:r>
          </a:p>
        </p:txBody>
      </p:sp>
      <p:sp>
        <p:nvSpPr>
          <p:cNvPr id="21" name="Speech Bubble: Rectangle 20">
            <a:extLst>
              <a:ext uri="{FF2B5EF4-FFF2-40B4-BE49-F238E27FC236}">
                <a16:creationId xmlns:a16="http://schemas.microsoft.com/office/drawing/2014/main" id="{08E30B8B-7EF1-85D8-D5E9-1B59A3C0EB72}"/>
              </a:ext>
            </a:extLst>
          </p:cNvPr>
          <p:cNvSpPr/>
          <p:nvPr/>
        </p:nvSpPr>
        <p:spPr>
          <a:xfrm>
            <a:off x="9355501" y="2933907"/>
            <a:ext cx="1992418" cy="555093"/>
          </a:xfrm>
          <a:prstGeom prst="wedgeRectCallout">
            <a:avLst>
              <a:gd name="adj1" fmla="val -49647"/>
              <a:gd name="adj2" fmla="val 41669"/>
            </a:avLst>
          </a:prstGeom>
          <a:solidFill>
            <a:srgbClr val="11BBFF"/>
          </a:solidFill>
          <a:ln w="38100">
            <a:solidFill>
              <a:srgbClr val="FFFF00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400" b="1" i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couts</a:t>
            </a:r>
          </a:p>
          <a:p>
            <a:pPr algn="ctr"/>
            <a:r>
              <a:rPr lang="en-GB" sz="1400" b="1" i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FutureEO Block 2)</a:t>
            </a:r>
          </a:p>
        </p:txBody>
      </p:sp>
      <p:sp>
        <p:nvSpPr>
          <p:cNvPr id="22" name="Speech Bubble: Rectangle 21">
            <a:extLst>
              <a:ext uri="{FF2B5EF4-FFF2-40B4-BE49-F238E27FC236}">
                <a16:creationId xmlns:a16="http://schemas.microsoft.com/office/drawing/2014/main" id="{B193B80B-4527-2EA0-2C70-A671DB5C82D7}"/>
              </a:ext>
            </a:extLst>
          </p:cNvPr>
          <p:cNvSpPr/>
          <p:nvPr/>
        </p:nvSpPr>
        <p:spPr>
          <a:xfrm>
            <a:off x="9355501" y="3684165"/>
            <a:ext cx="1992418" cy="555093"/>
          </a:xfrm>
          <a:prstGeom prst="wedgeRectCallout">
            <a:avLst>
              <a:gd name="adj1" fmla="val -49647"/>
              <a:gd name="adj2" fmla="val 41669"/>
            </a:avLst>
          </a:prstGeom>
          <a:solidFill>
            <a:srgbClr val="11BBFF"/>
          </a:solidFill>
          <a:ln w="38100">
            <a:solidFill>
              <a:srgbClr val="FFFF00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400" b="1" i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rctic Weather Satellite </a:t>
            </a:r>
            <a:br>
              <a:rPr lang="en-GB" sz="1400" b="1" i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GB" sz="1400" b="1" i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Earth Watch)</a:t>
            </a:r>
          </a:p>
        </p:txBody>
      </p:sp>
      <p:sp>
        <p:nvSpPr>
          <p:cNvPr id="23" name="Speech Bubble: Rectangle 22">
            <a:extLst>
              <a:ext uri="{FF2B5EF4-FFF2-40B4-BE49-F238E27FC236}">
                <a16:creationId xmlns:a16="http://schemas.microsoft.com/office/drawing/2014/main" id="{0D81393F-D6D6-6F34-89AA-95A5694A803F}"/>
              </a:ext>
            </a:extLst>
          </p:cNvPr>
          <p:cNvSpPr/>
          <p:nvPr/>
        </p:nvSpPr>
        <p:spPr>
          <a:xfrm>
            <a:off x="6372982" y="4674982"/>
            <a:ext cx="2302283" cy="980007"/>
          </a:xfrm>
          <a:prstGeom prst="wedgeRectCallout">
            <a:avLst>
              <a:gd name="adj1" fmla="val -49647"/>
              <a:gd name="adj2" fmla="val 41669"/>
            </a:avLst>
          </a:prstGeom>
          <a:solidFill>
            <a:schemeClr val="bg2">
              <a:lumMod val="90000"/>
            </a:schemeClr>
          </a:solidFill>
          <a:ln w="38100">
            <a:solidFill>
              <a:srgbClr val="FFFF00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400" i="1" dirty="0">
                <a:solidFill>
                  <a:schemeClr val="accent6">
                    <a:lumMod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D/TEC]</a:t>
            </a:r>
          </a:p>
          <a:p>
            <a:pPr algn="ctr"/>
            <a:r>
              <a:rPr lang="en-GB" sz="1400" b="1" i="1" dirty="0">
                <a:solidFill>
                  <a:schemeClr val="accent6">
                    <a:lumMod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neral Support Technology Programme (GSTP)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23BDEC4-2A8F-6A8F-3657-1EDE607891A5}"/>
              </a:ext>
            </a:extLst>
          </p:cNvPr>
          <p:cNvSpPr txBox="1"/>
          <p:nvPr/>
        </p:nvSpPr>
        <p:spPr>
          <a:xfrm>
            <a:off x="1065717" y="1007653"/>
            <a:ext cx="2653932" cy="307777"/>
          </a:xfrm>
          <a:prstGeom prst="rect">
            <a:avLst/>
          </a:prstGeom>
          <a:noFill/>
          <a:ln w="38100">
            <a:solidFill>
              <a:srgbClr val="FFFF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400" b="1" i="1" dirty="0">
                <a:solidFill>
                  <a:srgbClr val="FFFF00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7 presentations in this session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FD5B104-4386-9929-9A0B-6A7F6EB1ACCF}"/>
              </a:ext>
            </a:extLst>
          </p:cNvPr>
          <p:cNvSpPr txBox="1"/>
          <p:nvPr/>
        </p:nvSpPr>
        <p:spPr>
          <a:xfrm>
            <a:off x="4170506" y="1004587"/>
            <a:ext cx="7186720" cy="307777"/>
          </a:xfrm>
          <a:prstGeom prst="rect">
            <a:avLst/>
          </a:prstGeom>
          <a:noFill/>
          <a:ln w="38100">
            <a:solidFill>
              <a:srgbClr val="FFFF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400" b="1" i="1" dirty="0">
                <a:solidFill>
                  <a:srgbClr val="FFFF00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The session is not exhaustive, i.e. does not address all actions related to EO commercialisatio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BED998A-AEED-9683-E8DF-F76553B47FED}"/>
              </a:ext>
            </a:extLst>
          </p:cNvPr>
          <p:cNvSpPr txBox="1"/>
          <p:nvPr/>
        </p:nvSpPr>
        <p:spPr>
          <a:xfrm>
            <a:off x="604427" y="2956719"/>
            <a:ext cx="2632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1200" b="1" dirty="0">
                <a:solidFill>
                  <a:srgbClr val="FFFF00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F2CE5A0-7D57-BEEA-BA9F-45A1715D74C0}"/>
              </a:ext>
            </a:extLst>
          </p:cNvPr>
          <p:cNvSpPr txBox="1"/>
          <p:nvPr/>
        </p:nvSpPr>
        <p:spPr>
          <a:xfrm>
            <a:off x="3677784" y="2957731"/>
            <a:ext cx="2632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1200" b="1" dirty="0">
                <a:solidFill>
                  <a:srgbClr val="FFFF00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A1B20C9-3F93-766D-1D3F-41FF14AB5121}"/>
              </a:ext>
            </a:extLst>
          </p:cNvPr>
          <p:cNvSpPr txBox="1"/>
          <p:nvPr/>
        </p:nvSpPr>
        <p:spPr>
          <a:xfrm>
            <a:off x="6025320" y="2679720"/>
            <a:ext cx="2632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1200" b="1" dirty="0">
                <a:solidFill>
                  <a:srgbClr val="FFFF00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DA31ED0-7B83-90EC-F732-6AF6FCF2D392}"/>
              </a:ext>
            </a:extLst>
          </p:cNvPr>
          <p:cNvSpPr txBox="1"/>
          <p:nvPr/>
        </p:nvSpPr>
        <p:spPr>
          <a:xfrm>
            <a:off x="9311946" y="2892959"/>
            <a:ext cx="2632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1200" b="1" dirty="0">
                <a:solidFill>
                  <a:srgbClr val="FFFF00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1E57F68-AA0D-B72D-7482-024EC460BB96}"/>
              </a:ext>
            </a:extLst>
          </p:cNvPr>
          <p:cNvSpPr txBox="1"/>
          <p:nvPr/>
        </p:nvSpPr>
        <p:spPr>
          <a:xfrm>
            <a:off x="9293898" y="3626404"/>
            <a:ext cx="2632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1200" b="1" dirty="0">
                <a:solidFill>
                  <a:srgbClr val="FFFF00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5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E3276E3-6521-BC61-26DE-A508AD170013}"/>
              </a:ext>
            </a:extLst>
          </p:cNvPr>
          <p:cNvSpPr txBox="1"/>
          <p:nvPr/>
        </p:nvSpPr>
        <p:spPr>
          <a:xfrm>
            <a:off x="3509926" y="4637875"/>
            <a:ext cx="2632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1200" b="1" dirty="0">
                <a:solidFill>
                  <a:srgbClr val="FFFF00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6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7AD4EE1-60B7-9EE5-3948-FF2BB6ED3FE1}"/>
              </a:ext>
            </a:extLst>
          </p:cNvPr>
          <p:cNvSpPr txBox="1"/>
          <p:nvPr/>
        </p:nvSpPr>
        <p:spPr>
          <a:xfrm>
            <a:off x="6326146" y="4623468"/>
            <a:ext cx="2632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1200" b="1" dirty="0">
                <a:solidFill>
                  <a:srgbClr val="FFFF00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35196224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peech Bubble: Rectangle 4">
            <a:extLst>
              <a:ext uri="{FF2B5EF4-FFF2-40B4-BE49-F238E27FC236}">
                <a16:creationId xmlns:a16="http://schemas.microsoft.com/office/drawing/2014/main" id="{0FDF6D09-CB7D-D195-A0A6-13625923ACE5}"/>
              </a:ext>
            </a:extLst>
          </p:cNvPr>
          <p:cNvSpPr/>
          <p:nvPr/>
        </p:nvSpPr>
        <p:spPr>
          <a:xfrm>
            <a:off x="528494" y="1618441"/>
            <a:ext cx="2794387" cy="2857306"/>
          </a:xfrm>
          <a:prstGeom prst="wedgeRectCallout">
            <a:avLst>
              <a:gd name="adj1" fmla="val -49647"/>
              <a:gd name="adj2" fmla="val 41669"/>
            </a:avLst>
          </a:prstGeom>
          <a:solidFill>
            <a:srgbClr val="11BBFF">
              <a:alpha val="30196"/>
            </a:srgbClr>
          </a:solidFill>
          <a:ln w="9525"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GB" sz="1400" b="1" i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1F2FC77-8AD0-0CEF-ECF8-96A811D0B6F0}"/>
              </a:ext>
            </a:extLst>
          </p:cNvPr>
          <p:cNvSpPr txBox="1"/>
          <p:nvPr/>
        </p:nvSpPr>
        <p:spPr>
          <a:xfrm>
            <a:off x="6711796" y="2340051"/>
            <a:ext cx="161537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400" dirty="0">
                <a:solidFill>
                  <a:schemeClr val="bg1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Fully funded by ESA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E3276E3-6521-BC61-26DE-A508AD170013}"/>
              </a:ext>
            </a:extLst>
          </p:cNvPr>
          <p:cNvSpPr txBox="1"/>
          <p:nvPr/>
        </p:nvSpPr>
        <p:spPr>
          <a:xfrm>
            <a:off x="3509926" y="4637875"/>
            <a:ext cx="2632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1200" b="1" dirty="0">
                <a:solidFill>
                  <a:srgbClr val="FFFF00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6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7AD4EE1-60B7-9EE5-3948-FF2BB6ED3FE1}"/>
              </a:ext>
            </a:extLst>
          </p:cNvPr>
          <p:cNvSpPr txBox="1"/>
          <p:nvPr/>
        </p:nvSpPr>
        <p:spPr>
          <a:xfrm>
            <a:off x="6326146" y="4623468"/>
            <a:ext cx="2632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1200" b="1" dirty="0">
                <a:solidFill>
                  <a:srgbClr val="FFFF00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7</a:t>
            </a:r>
          </a:p>
        </p:txBody>
      </p:sp>
      <p:sp>
        <p:nvSpPr>
          <p:cNvPr id="23" name="Speech Bubble: Rectangle 22">
            <a:extLst>
              <a:ext uri="{FF2B5EF4-FFF2-40B4-BE49-F238E27FC236}">
                <a16:creationId xmlns:a16="http://schemas.microsoft.com/office/drawing/2014/main" id="{0D81393F-D6D6-6F34-89AA-95A5694A803F}"/>
              </a:ext>
            </a:extLst>
          </p:cNvPr>
          <p:cNvSpPr/>
          <p:nvPr/>
        </p:nvSpPr>
        <p:spPr>
          <a:xfrm>
            <a:off x="6372982" y="4674982"/>
            <a:ext cx="2302283" cy="980007"/>
          </a:xfrm>
          <a:prstGeom prst="wedgeRectCallout">
            <a:avLst>
              <a:gd name="adj1" fmla="val -49647"/>
              <a:gd name="adj2" fmla="val 41669"/>
            </a:avLst>
          </a:prstGeom>
          <a:solidFill>
            <a:schemeClr val="bg2">
              <a:lumMod val="90000"/>
            </a:schemeClr>
          </a:solidFill>
          <a:ln w="38100">
            <a:solidFill>
              <a:srgbClr val="FFFF00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400" i="1" dirty="0">
                <a:solidFill>
                  <a:schemeClr val="accent6">
                    <a:lumMod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D/TEC]</a:t>
            </a:r>
          </a:p>
          <a:p>
            <a:pPr algn="ctr"/>
            <a:r>
              <a:rPr lang="en-GB" sz="1400" b="1" i="1" dirty="0">
                <a:solidFill>
                  <a:schemeClr val="accent6">
                    <a:lumMod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neral Support Technology Programme (GSTP)</a:t>
            </a:r>
          </a:p>
        </p:txBody>
      </p:sp>
      <p:sp>
        <p:nvSpPr>
          <p:cNvPr id="17" name="Speech Bubble: Rectangle 16">
            <a:extLst>
              <a:ext uri="{FF2B5EF4-FFF2-40B4-BE49-F238E27FC236}">
                <a16:creationId xmlns:a16="http://schemas.microsoft.com/office/drawing/2014/main" id="{F47C9931-8EDA-488D-B48C-91E329DB6607}"/>
              </a:ext>
            </a:extLst>
          </p:cNvPr>
          <p:cNvSpPr/>
          <p:nvPr/>
        </p:nvSpPr>
        <p:spPr>
          <a:xfrm>
            <a:off x="642876" y="3003505"/>
            <a:ext cx="2565623" cy="1056691"/>
          </a:xfrm>
          <a:prstGeom prst="wedgeRectCallout">
            <a:avLst>
              <a:gd name="adj1" fmla="val -49647"/>
              <a:gd name="adj2" fmla="val 41669"/>
            </a:avLst>
          </a:prstGeom>
          <a:solidFill>
            <a:srgbClr val="0074A3"/>
          </a:solidFill>
          <a:ln w="38100">
            <a:solidFill>
              <a:srgbClr val="FFFF00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400" b="1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mercialisation through </a:t>
            </a:r>
            <a:br>
              <a:rPr lang="en-GB" sz="1400" b="1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GB" sz="1400" b="1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O Data Buy </a:t>
            </a:r>
            <a:br>
              <a:rPr lang="en-GB" sz="1400" b="1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GB" sz="1400" b="1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or science (Earthnet) </a:t>
            </a:r>
            <a:br>
              <a:rPr lang="en-GB" sz="1400" b="1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GB" sz="1400" b="1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amp; for operations (Copernicus)</a:t>
            </a:r>
          </a:p>
        </p:txBody>
      </p:sp>
      <p:sp>
        <p:nvSpPr>
          <p:cNvPr id="6" name="Speech Bubble: Rectangle 5">
            <a:extLst>
              <a:ext uri="{FF2B5EF4-FFF2-40B4-BE49-F238E27FC236}">
                <a16:creationId xmlns:a16="http://schemas.microsoft.com/office/drawing/2014/main" id="{A80E862C-A2F0-BC7A-4969-0827704C348D}"/>
              </a:ext>
            </a:extLst>
          </p:cNvPr>
          <p:cNvSpPr/>
          <p:nvPr/>
        </p:nvSpPr>
        <p:spPr>
          <a:xfrm>
            <a:off x="9232486" y="1618441"/>
            <a:ext cx="2238449" cy="2857306"/>
          </a:xfrm>
          <a:prstGeom prst="wedgeRectCallout">
            <a:avLst>
              <a:gd name="adj1" fmla="val -49647"/>
              <a:gd name="adj2" fmla="val 41669"/>
            </a:avLst>
          </a:prstGeom>
          <a:solidFill>
            <a:srgbClr val="11BBFF">
              <a:alpha val="30196"/>
            </a:srgbClr>
          </a:solidFill>
          <a:ln w="9525"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GB" sz="1400" b="1" i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Speech Bubble: Rectangle 6">
            <a:extLst>
              <a:ext uri="{FF2B5EF4-FFF2-40B4-BE49-F238E27FC236}">
                <a16:creationId xmlns:a16="http://schemas.microsoft.com/office/drawing/2014/main" id="{A13A885B-7C7B-F1AB-E780-F08200267BFB}"/>
              </a:ext>
            </a:extLst>
          </p:cNvPr>
          <p:cNvSpPr/>
          <p:nvPr/>
        </p:nvSpPr>
        <p:spPr>
          <a:xfrm>
            <a:off x="5956479" y="1626274"/>
            <a:ext cx="3126013" cy="2857307"/>
          </a:xfrm>
          <a:prstGeom prst="wedgeRectCallout">
            <a:avLst>
              <a:gd name="adj1" fmla="val -49647"/>
              <a:gd name="adj2" fmla="val 41669"/>
            </a:avLst>
          </a:prstGeom>
          <a:solidFill>
            <a:srgbClr val="11BBFF">
              <a:alpha val="30196"/>
            </a:srgbClr>
          </a:solidFill>
          <a:ln w="9525"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GB" sz="1400" b="1" i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Speech Bubble: Rectangle 8">
            <a:extLst>
              <a:ext uri="{FF2B5EF4-FFF2-40B4-BE49-F238E27FC236}">
                <a16:creationId xmlns:a16="http://schemas.microsoft.com/office/drawing/2014/main" id="{59DB50C2-4175-09AF-C3BE-464DB9CF01FC}"/>
              </a:ext>
            </a:extLst>
          </p:cNvPr>
          <p:cNvSpPr/>
          <p:nvPr/>
        </p:nvSpPr>
        <p:spPr>
          <a:xfrm>
            <a:off x="534495" y="1626273"/>
            <a:ext cx="2782384" cy="555093"/>
          </a:xfrm>
          <a:prstGeom prst="wedgeRectCallout">
            <a:avLst>
              <a:gd name="adj1" fmla="val -49647"/>
              <a:gd name="adj2" fmla="val 41669"/>
            </a:avLst>
          </a:prstGeom>
          <a:solidFill>
            <a:srgbClr val="0074A3"/>
          </a:solidFill>
          <a:ln w="9525"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A EOP as a </a:t>
            </a:r>
            <a:r>
              <a:rPr lang="en-GB" sz="1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USTOMER</a:t>
            </a:r>
          </a:p>
        </p:txBody>
      </p:sp>
      <p:sp>
        <p:nvSpPr>
          <p:cNvPr id="10" name="Speech Bubble: Rectangle 9">
            <a:extLst>
              <a:ext uri="{FF2B5EF4-FFF2-40B4-BE49-F238E27FC236}">
                <a16:creationId xmlns:a16="http://schemas.microsoft.com/office/drawing/2014/main" id="{E031E4B0-8937-B21E-1C71-CA716C0BE4F7}"/>
              </a:ext>
            </a:extLst>
          </p:cNvPr>
          <p:cNvSpPr/>
          <p:nvPr/>
        </p:nvSpPr>
        <p:spPr>
          <a:xfrm>
            <a:off x="9234183" y="1618438"/>
            <a:ext cx="2235055" cy="555093"/>
          </a:xfrm>
          <a:prstGeom prst="wedgeRectCallout">
            <a:avLst>
              <a:gd name="adj1" fmla="val -49647"/>
              <a:gd name="adj2" fmla="val 41669"/>
            </a:avLst>
          </a:prstGeom>
          <a:solidFill>
            <a:srgbClr val="11BBFF"/>
          </a:solidFill>
          <a:ln w="9525"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“Traditional” EOP R&amp;D </a:t>
            </a:r>
            <a:r>
              <a:rPr lang="en-GB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curement agency role</a:t>
            </a:r>
          </a:p>
        </p:txBody>
      </p:sp>
      <p:sp>
        <p:nvSpPr>
          <p:cNvPr id="11" name="Speech Bubble: Rectangle 10">
            <a:extLst>
              <a:ext uri="{FF2B5EF4-FFF2-40B4-BE49-F238E27FC236}">
                <a16:creationId xmlns:a16="http://schemas.microsoft.com/office/drawing/2014/main" id="{82EFDB68-1349-37F4-A104-F32B5F47FA62}"/>
              </a:ext>
            </a:extLst>
          </p:cNvPr>
          <p:cNvSpPr/>
          <p:nvPr/>
        </p:nvSpPr>
        <p:spPr>
          <a:xfrm>
            <a:off x="5961475" y="1632289"/>
            <a:ext cx="3115001" cy="555093"/>
          </a:xfrm>
          <a:prstGeom prst="wedgeRectCallout">
            <a:avLst>
              <a:gd name="adj1" fmla="val -49647"/>
              <a:gd name="adj2" fmla="val 41669"/>
            </a:avLst>
          </a:prstGeom>
          <a:solidFill>
            <a:srgbClr val="00A4E6"/>
          </a:solidFill>
          <a:ln w="9525"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A EOP as an </a:t>
            </a:r>
            <a:r>
              <a:rPr lang="en-GB" sz="1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ABLE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D0333FC-A429-8DDF-9499-122CB5B79489}"/>
              </a:ext>
            </a:extLst>
          </p:cNvPr>
          <p:cNvSpPr txBox="1"/>
          <p:nvPr/>
        </p:nvSpPr>
        <p:spPr>
          <a:xfrm>
            <a:off x="9380418" y="2292109"/>
            <a:ext cx="194258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400" dirty="0">
                <a:solidFill>
                  <a:schemeClr val="bg1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Fully funded by ESA</a:t>
            </a:r>
          </a:p>
          <a:p>
            <a:pPr algn="ctr"/>
            <a:r>
              <a:rPr lang="en-GB" sz="1400" dirty="0">
                <a:solidFill>
                  <a:schemeClr val="bg1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“ New Space approach”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6B47241-426C-A343-7FC1-DECF11174C7B}"/>
              </a:ext>
            </a:extLst>
          </p:cNvPr>
          <p:cNvSpPr txBox="1"/>
          <p:nvPr/>
        </p:nvSpPr>
        <p:spPr>
          <a:xfrm>
            <a:off x="877572" y="2283000"/>
            <a:ext cx="20962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dirty="0">
                <a:solidFill>
                  <a:schemeClr val="bg1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Funded by ESA and/or </a:t>
            </a:r>
            <a:br>
              <a:rPr lang="en-GB" sz="1400" dirty="0">
                <a:solidFill>
                  <a:schemeClr val="bg1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</a:br>
            <a:r>
              <a:rPr lang="en-GB" sz="1400" dirty="0">
                <a:solidFill>
                  <a:schemeClr val="bg1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with a third-party partner</a:t>
            </a:r>
          </a:p>
        </p:txBody>
      </p:sp>
      <p:sp>
        <p:nvSpPr>
          <p:cNvPr id="19" name="Speech Bubble: Rectangle 18">
            <a:extLst>
              <a:ext uri="{FF2B5EF4-FFF2-40B4-BE49-F238E27FC236}">
                <a16:creationId xmlns:a16="http://schemas.microsoft.com/office/drawing/2014/main" id="{4F2C3754-9221-083A-9E1D-F8A2F91AA586}"/>
              </a:ext>
            </a:extLst>
          </p:cNvPr>
          <p:cNvSpPr/>
          <p:nvPr/>
        </p:nvSpPr>
        <p:spPr>
          <a:xfrm>
            <a:off x="3559224" y="4683649"/>
            <a:ext cx="2132913" cy="980006"/>
          </a:xfrm>
          <a:prstGeom prst="wedgeRectCallout">
            <a:avLst>
              <a:gd name="adj1" fmla="val -49647"/>
              <a:gd name="adj2" fmla="val 41669"/>
            </a:avLst>
          </a:prstGeom>
          <a:solidFill>
            <a:schemeClr val="accent6">
              <a:lumMod val="90000"/>
            </a:schemeClr>
          </a:solidFill>
          <a:ln w="38100">
            <a:solidFill>
              <a:srgbClr val="FFFF00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400" i="1" dirty="0">
                <a:solidFill>
                  <a:schemeClr val="accent6">
                    <a:lumMod val="1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D/CIC]</a:t>
            </a: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en-GB" sz="1400" b="1" i="1" dirty="0">
                <a:solidFill>
                  <a:schemeClr val="accent6">
                    <a:lumMod val="1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BICs, Scale Up Invest</a:t>
            </a:r>
            <a:endParaRPr lang="en-GB" sz="1400" b="1" i="1" dirty="0">
              <a:solidFill>
                <a:schemeClr val="accent6">
                  <a:lumMod val="1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en-GB" sz="1400" b="1" i="1" dirty="0">
                <a:solidFill>
                  <a:schemeClr val="accent6">
                    <a:lumMod val="1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Business Applications </a:t>
            </a:r>
            <a:br>
              <a:rPr lang="en-GB" sz="1400" b="1" i="1" dirty="0">
                <a:solidFill>
                  <a:schemeClr val="accent6">
                    <a:lumMod val="1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GB" sz="1400" b="1" i="1" dirty="0">
                <a:solidFill>
                  <a:schemeClr val="accent6">
                    <a:lumMod val="1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&amp; Space Solutions (BASS)</a:t>
            </a:r>
          </a:p>
        </p:txBody>
      </p:sp>
      <p:sp>
        <p:nvSpPr>
          <p:cNvPr id="20" name="Speech Bubble: Rectangle 19">
            <a:extLst>
              <a:ext uri="{FF2B5EF4-FFF2-40B4-BE49-F238E27FC236}">
                <a16:creationId xmlns:a16="http://schemas.microsoft.com/office/drawing/2014/main" id="{C7C76E35-A3F4-3006-E698-020463257D73}"/>
              </a:ext>
            </a:extLst>
          </p:cNvPr>
          <p:cNvSpPr/>
          <p:nvPr/>
        </p:nvSpPr>
        <p:spPr>
          <a:xfrm>
            <a:off x="6055630" y="2717367"/>
            <a:ext cx="2927708" cy="1623335"/>
          </a:xfrm>
          <a:prstGeom prst="wedgeRectCallout">
            <a:avLst>
              <a:gd name="adj1" fmla="val -49647"/>
              <a:gd name="adj2" fmla="val 41669"/>
            </a:avLst>
          </a:prstGeom>
          <a:solidFill>
            <a:srgbClr val="00A4E6"/>
          </a:solidFill>
          <a:ln w="38100">
            <a:solidFill>
              <a:srgbClr val="FFFF00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400" b="1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tureEO</a:t>
            </a: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en-GB" sz="1400" b="1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lock 4 : Enabling downstream applications</a:t>
            </a: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en-GB" sz="1400" b="1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lock 3: Enabling commercialisation with GS &amp; data management</a:t>
            </a: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en-GB" sz="1400" b="1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lock 1 : Commercialisation with upstream technology</a:t>
            </a:r>
          </a:p>
        </p:txBody>
      </p:sp>
      <p:sp>
        <p:nvSpPr>
          <p:cNvPr id="21" name="Speech Bubble: Rectangle 20">
            <a:extLst>
              <a:ext uri="{FF2B5EF4-FFF2-40B4-BE49-F238E27FC236}">
                <a16:creationId xmlns:a16="http://schemas.microsoft.com/office/drawing/2014/main" id="{08E30B8B-7EF1-85D8-D5E9-1B59A3C0EB72}"/>
              </a:ext>
            </a:extLst>
          </p:cNvPr>
          <p:cNvSpPr/>
          <p:nvPr/>
        </p:nvSpPr>
        <p:spPr>
          <a:xfrm>
            <a:off x="9355501" y="2933907"/>
            <a:ext cx="1992418" cy="555093"/>
          </a:xfrm>
          <a:prstGeom prst="wedgeRectCallout">
            <a:avLst>
              <a:gd name="adj1" fmla="val -49647"/>
              <a:gd name="adj2" fmla="val 41669"/>
            </a:avLst>
          </a:prstGeom>
          <a:solidFill>
            <a:srgbClr val="11BBFF"/>
          </a:solidFill>
          <a:ln w="38100">
            <a:solidFill>
              <a:srgbClr val="FFFF00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400" b="1" i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couts</a:t>
            </a:r>
          </a:p>
          <a:p>
            <a:pPr algn="ctr"/>
            <a:r>
              <a:rPr lang="en-GB" sz="1400" b="1" i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FutureEO Block 2)</a:t>
            </a:r>
          </a:p>
        </p:txBody>
      </p:sp>
      <p:sp>
        <p:nvSpPr>
          <p:cNvPr id="22" name="Speech Bubble: Rectangle 21">
            <a:extLst>
              <a:ext uri="{FF2B5EF4-FFF2-40B4-BE49-F238E27FC236}">
                <a16:creationId xmlns:a16="http://schemas.microsoft.com/office/drawing/2014/main" id="{B193B80B-4527-2EA0-2C70-A671DB5C82D7}"/>
              </a:ext>
            </a:extLst>
          </p:cNvPr>
          <p:cNvSpPr/>
          <p:nvPr/>
        </p:nvSpPr>
        <p:spPr>
          <a:xfrm>
            <a:off x="9355501" y="3684165"/>
            <a:ext cx="1992418" cy="555093"/>
          </a:xfrm>
          <a:prstGeom prst="wedgeRectCallout">
            <a:avLst>
              <a:gd name="adj1" fmla="val -49647"/>
              <a:gd name="adj2" fmla="val 41669"/>
            </a:avLst>
          </a:prstGeom>
          <a:solidFill>
            <a:srgbClr val="11BBFF"/>
          </a:solidFill>
          <a:ln w="38100">
            <a:solidFill>
              <a:srgbClr val="FFFF00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400" b="1" i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rctic Weather Satellite </a:t>
            </a:r>
            <a:br>
              <a:rPr lang="en-GB" sz="1400" b="1" i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GB" sz="1400" b="1" i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Earth Watch)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23BDEC4-2A8F-6A8F-3657-1EDE607891A5}"/>
              </a:ext>
            </a:extLst>
          </p:cNvPr>
          <p:cNvSpPr txBox="1"/>
          <p:nvPr/>
        </p:nvSpPr>
        <p:spPr>
          <a:xfrm>
            <a:off x="1065717" y="1007653"/>
            <a:ext cx="2653932" cy="307777"/>
          </a:xfrm>
          <a:prstGeom prst="rect">
            <a:avLst/>
          </a:prstGeom>
          <a:noFill/>
          <a:ln w="38100">
            <a:solidFill>
              <a:srgbClr val="FFFF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400" b="1" i="1" dirty="0">
                <a:solidFill>
                  <a:srgbClr val="FFFF00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7 presentations in this session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FD5B104-4386-9929-9A0B-6A7F6EB1ACCF}"/>
              </a:ext>
            </a:extLst>
          </p:cNvPr>
          <p:cNvSpPr txBox="1"/>
          <p:nvPr/>
        </p:nvSpPr>
        <p:spPr>
          <a:xfrm>
            <a:off x="4170506" y="1004587"/>
            <a:ext cx="7186720" cy="307777"/>
          </a:xfrm>
          <a:prstGeom prst="rect">
            <a:avLst/>
          </a:prstGeom>
          <a:noFill/>
          <a:ln w="38100">
            <a:solidFill>
              <a:srgbClr val="FFFF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400" b="1" i="1" dirty="0">
                <a:solidFill>
                  <a:srgbClr val="FFFF00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The session is not exhaustive, i.e. does not address all actions related to EO commercialisatio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BED998A-AEED-9683-E8DF-F76553B47FED}"/>
              </a:ext>
            </a:extLst>
          </p:cNvPr>
          <p:cNvSpPr txBox="1"/>
          <p:nvPr/>
        </p:nvSpPr>
        <p:spPr>
          <a:xfrm>
            <a:off x="604427" y="2956719"/>
            <a:ext cx="2632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1200" b="1" dirty="0">
                <a:solidFill>
                  <a:srgbClr val="FFFF00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A1B20C9-3F93-766D-1D3F-41FF14AB5121}"/>
              </a:ext>
            </a:extLst>
          </p:cNvPr>
          <p:cNvSpPr txBox="1"/>
          <p:nvPr/>
        </p:nvSpPr>
        <p:spPr>
          <a:xfrm>
            <a:off x="6025320" y="2679720"/>
            <a:ext cx="2632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1200" b="1" dirty="0">
                <a:solidFill>
                  <a:srgbClr val="FFFF00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DA31ED0-7B83-90EC-F732-6AF6FCF2D392}"/>
              </a:ext>
            </a:extLst>
          </p:cNvPr>
          <p:cNvSpPr txBox="1"/>
          <p:nvPr/>
        </p:nvSpPr>
        <p:spPr>
          <a:xfrm>
            <a:off x="9311946" y="2892959"/>
            <a:ext cx="2632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1200" b="1" dirty="0">
                <a:solidFill>
                  <a:srgbClr val="FFFF00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1E57F68-AA0D-B72D-7482-024EC460BB96}"/>
              </a:ext>
            </a:extLst>
          </p:cNvPr>
          <p:cNvSpPr txBox="1"/>
          <p:nvPr/>
        </p:nvSpPr>
        <p:spPr>
          <a:xfrm>
            <a:off x="9293898" y="3626404"/>
            <a:ext cx="2632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1200" b="1" dirty="0">
                <a:solidFill>
                  <a:srgbClr val="FFFF00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5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8E94633-F16E-CB5B-6E06-1C165742BA6D}"/>
              </a:ext>
            </a:extLst>
          </p:cNvPr>
          <p:cNvSpPr/>
          <p:nvPr/>
        </p:nvSpPr>
        <p:spPr>
          <a:xfrm>
            <a:off x="0" y="0"/>
            <a:ext cx="12192000" cy="6424397"/>
          </a:xfrm>
          <a:prstGeom prst="rect">
            <a:avLst/>
          </a:prstGeom>
          <a:solidFill>
            <a:schemeClr val="tx1">
              <a:alpha val="84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Speech Bubble: Rectangle 7">
            <a:extLst>
              <a:ext uri="{FF2B5EF4-FFF2-40B4-BE49-F238E27FC236}">
                <a16:creationId xmlns:a16="http://schemas.microsoft.com/office/drawing/2014/main" id="{E680F849-79EF-1A39-BB5D-A6132871A1E3}"/>
              </a:ext>
            </a:extLst>
          </p:cNvPr>
          <p:cNvSpPr/>
          <p:nvPr/>
        </p:nvSpPr>
        <p:spPr>
          <a:xfrm>
            <a:off x="3457929" y="1626273"/>
            <a:ext cx="2359568" cy="2857307"/>
          </a:xfrm>
          <a:prstGeom prst="wedgeRectCallout">
            <a:avLst>
              <a:gd name="adj1" fmla="val -49647"/>
              <a:gd name="adj2" fmla="val 41669"/>
            </a:avLst>
          </a:prstGeom>
          <a:solidFill>
            <a:srgbClr val="11BBFF">
              <a:alpha val="30196"/>
            </a:srgbClr>
          </a:solidFill>
          <a:ln w="9525"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GB" sz="1400" b="1" i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Speech Bubble: Rectangle 11">
            <a:extLst>
              <a:ext uri="{FF2B5EF4-FFF2-40B4-BE49-F238E27FC236}">
                <a16:creationId xmlns:a16="http://schemas.microsoft.com/office/drawing/2014/main" id="{F21619C3-E4DD-DF3F-6376-23D9E4A0BEFA}"/>
              </a:ext>
            </a:extLst>
          </p:cNvPr>
          <p:cNvSpPr/>
          <p:nvPr/>
        </p:nvSpPr>
        <p:spPr>
          <a:xfrm>
            <a:off x="3471855" y="1632289"/>
            <a:ext cx="2333610" cy="555093"/>
          </a:xfrm>
          <a:prstGeom prst="wedgeRectCallout">
            <a:avLst>
              <a:gd name="adj1" fmla="val -49647"/>
              <a:gd name="adj2" fmla="val 41669"/>
            </a:avLst>
          </a:prstGeom>
          <a:solidFill>
            <a:srgbClr val="008CC4"/>
          </a:solidFill>
          <a:ln w="9525"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A EOP as a </a:t>
            </a:r>
            <a:r>
              <a:rPr lang="en-GB" sz="1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RTNE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1701ADB-97EC-A77F-231C-3FE8316C4875}"/>
              </a:ext>
            </a:extLst>
          </p:cNvPr>
          <p:cNvSpPr txBox="1"/>
          <p:nvPr/>
        </p:nvSpPr>
        <p:spPr>
          <a:xfrm>
            <a:off x="3653565" y="2280216"/>
            <a:ext cx="196829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400" dirty="0">
                <a:solidFill>
                  <a:schemeClr val="bg1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Co-funded </a:t>
            </a:r>
            <a:br>
              <a:rPr lang="en-GB" sz="1400" dirty="0">
                <a:solidFill>
                  <a:schemeClr val="bg1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</a:br>
            <a:r>
              <a:rPr lang="en-GB" sz="1400" dirty="0">
                <a:solidFill>
                  <a:schemeClr val="bg1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(generally with industry)</a:t>
            </a:r>
          </a:p>
        </p:txBody>
      </p:sp>
      <p:sp>
        <p:nvSpPr>
          <p:cNvPr id="18" name="Speech Bubble: Rectangle 17">
            <a:extLst>
              <a:ext uri="{FF2B5EF4-FFF2-40B4-BE49-F238E27FC236}">
                <a16:creationId xmlns:a16="http://schemas.microsoft.com/office/drawing/2014/main" id="{0B3D1E60-616A-3B96-3D19-DD6D72E02A1C}"/>
              </a:ext>
            </a:extLst>
          </p:cNvPr>
          <p:cNvSpPr/>
          <p:nvPr/>
        </p:nvSpPr>
        <p:spPr>
          <a:xfrm>
            <a:off x="3702868" y="3003505"/>
            <a:ext cx="1869691" cy="1051060"/>
          </a:xfrm>
          <a:prstGeom prst="wedgeRectCallout">
            <a:avLst>
              <a:gd name="adj1" fmla="val -49647"/>
              <a:gd name="adj2" fmla="val 41669"/>
            </a:avLst>
          </a:prstGeom>
          <a:solidFill>
            <a:srgbClr val="008CC4"/>
          </a:solidFill>
          <a:ln w="38100">
            <a:solidFill>
              <a:srgbClr val="FFFF00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400" b="1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Cubed </a:t>
            </a:r>
          </a:p>
          <a:p>
            <a:pPr algn="ctr"/>
            <a:r>
              <a:rPr lang="en-GB" sz="1400" b="1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Earth Watch)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F2CE5A0-7D57-BEEA-BA9F-45A1715D74C0}"/>
              </a:ext>
            </a:extLst>
          </p:cNvPr>
          <p:cNvSpPr txBox="1"/>
          <p:nvPr/>
        </p:nvSpPr>
        <p:spPr>
          <a:xfrm>
            <a:off x="3677784" y="2957731"/>
            <a:ext cx="2632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1200" b="1" dirty="0">
                <a:solidFill>
                  <a:srgbClr val="FFFF00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3509002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9FA435D-D509-9A2A-DF58-F0DB231E79E3}"/>
              </a:ext>
            </a:extLst>
          </p:cNvPr>
          <p:cNvSpPr/>
          <p:nvPr/>
        </p:nvSpPr>
        <p:spPr>
          <a:xfrm>
            <a:off x="0" y="661643"/>
            <a:ext cx="12192000" cy="60523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T" sz="1795"/>
          </a:p>
        </p:txBody>
      </p:sp>
      <p:sp>
        <p:nvSpPr>
          <p:cNvPr id="93" name="Figura a mano libera 92">
            <a:extLst>
              <a:ext uri="{FF2B5EF4-FFF2-40B4-BE49-F238E27FC236}">
                <a16:creationId xmlns:a16="http://schemas.microsoft.com/office/drawing/2014/main" id="{1FC3A8A9-A804-3592-FA77-FC593828A5A7}"/>
              </a:ext>
            </a:extLst>
          </p:cNvPr>
          <p:cNvSpPr/>
          <p:nvPr/>
        </p:nvSpPr>
        <p:spPr>
          <a:xfrm>
            <a:off x="784200" y="2072185"/>
            <a:ext cx="11101139" cy="4787307"/>
          </a:xfrm>
          <a:custGeom>
            <a:avLst/>
            <a:gdLst>
              <a:gd name="connsiteX0" fmla="*/ 0 w 11110946"/>
              <a:gd name="connsiteY0" fmla="*/ 4131497 h 4357907"/>
              <a:gd name="connsiteX1" fmla="*/ 3249738 w 11110946"/>
              <a:gd name="connsiteY1" fmla="*/ 3934145 h 4357907"/>
              <a:gd name="connsiteX2" fmla="*/ 6729720 w 11110946"/>
              <a:gd name="connsiteY2" fmla="*/ 269966 h 4357907"/>
              <a:gd name="connsiteX3" fmla="*/ 10189968 w 11110946"/>
              <a:gd name="connsiteY3" fmla="*/ 263388 h 4357907"/>
              <a:gd name="connsiteX4" fmla="*/ 11110946 w 11110946"/>
              <a:gd name="connsiteY4" fmla="*/ 171290 h 4357907"/>
              <a:gd name="connsiteX0" fmla="*/ 0 w 11110946"/>
              <a:gd name="connsiteY0" fmla="*/ 4203599 h 5167727"/>
              <a:gd name="connsiteX1" fmla="*/ 4400112 w 11110946"/>
              <a:gd name="connsiteY1" fmla="*/ 4979640 h 5167727"/>
              <a:gd name="connsiteX2" fmla="*/ 6729720 w 11110946"/>
              <a:gd name="connsiteY2" fmla="*/ 342068 h 5167727"/>
              <a:gd name="connsiteX3" fmla="*/ 10189968 w 11110946"/>
              <a:gd name="connsiteY3" fmla="*/ 335490 h 5167727"/>
              <a:gd name="connsiteX4" fmla="*/ 11110946 w 11110946"/>
              <a:gd name="connsiteY4" fmla="*/ 243392 h 5167727"/>
              <a:gd name="connsiteX0" fmla="*/ 0 w 11110946"/>
              <a:gd name="connsiteY0" fmla="*/ 3976737 h 4891610"/>
              <a:gd name="connsiteX1" fmla="*/ 4400112 w 11110946"/>
              <a:gd name="connsiteY1" fmla="*/ 4752778 h 4891610"/>
              <a:gd name="connsiteX2" fmla="*/ 7777684 w 11110946"/>
              <a:gd name="connsiteY2" fmla="*/ 885768 h 4891610"/>
              <a:gd name="connsiteX3" fmla="*/ 10189968 w 11110946"/>
              <a:gd name="connsiteY3" fmla="*/ 108628 h 4891610"/>
              <a:gd name="connsiteX4" fmla="*/ 11110946 w 11110946"/>
              <a:gd name="connsiteY4" fmla="*/ 16530 h 4891610"/>
              <a:gd name="connsiteX0" fmla="*/ 0 w 11110946"/>
              <a:gd name="connsiteY0" fmla="*/ 3976737 h 4876990"/>
              <a:gd name="connsiteX1" fmla="*/ 4400112 w 11110946"/>
              <a:gd name="connsiteY1" fmla="*/ 4752778 h 4876990"/>
              <a:gd name="connsiteX2" fmla="*/ 7787958 w 11110946"/>
              <a:gd name="connsiteY2" fmla="*/ 1122074 h 4876990"/>
              <a:gd name="connsiteX3" fmla="*/ 10189968 w 11110946"/>
              <a:gd name="connsiteY3" fmla="*/ 108628 h 4876990"/>
              <a:gd name="connsiteX4" fmla="*/ 11110946 w 11110946"/>
              <a:gd name="connsiteY4" fmla="*/ 16530 h 4876990"/>
              <a:gd name="connsiteX0" fmla="*/ 0 w 11131494"/>
              <a:gd name="connsiteY0" fmla="*/ 3900144 h 4800397"/>
              <a:gd name="connsiteX1" fmla="*/ 4400112 w 11131494"/>
              <a:gd name="connsiteY1" fmla="*/ 4676185 h 4800397"/>
              <a:gd name="connsiteX2" fmla="*/ 7787958 w 11131494"/>
              <a:gd name="connsiteY2" fmla="*/ 1045481 h 4800397"/>
              <a:gd name="connsiteX3" fmla="*/ 10189968 w 11131494"/>
              <a:gd name="connsiteY3" fmla="*/ 32035 h 4800397"/>
              <a:gd name="connsiteX4" fmla="*/ 11131494 w 11131494"/>
              <a:gd name="connsiteY4" fmla="*/ 32404 h 4800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31494" h="4800397">
                <a:moveTo>
                  <a:pt x="0" y="3900144"/>
                </a:moveTo>
                <a:cubicBezTo>
                  <a:pt x="1064059" y="4123262"/>
                  <a:pt x="3102119" y="5151962"/>
                  <a:pt x="4400112" y="4676185"/>
                </a:cubicBezTo>
                <a:cubicBezTo>
                  <a:pt x="5698105" y="4200408"/>
                  <a:pt x="6822982" y="1819506"/>
                  <a:pt x="7787958" y="1045481"/>
                </a:cubicBezTo>
                <a:cubicBezTo>
                  <a:pt x="8752934" y="271456"/>
                  <a:pt x="9459764" y="48481"/>
                  <a:pt x="10189968" y="32035"/>
                </a:cubicBezTo>
                <a:cubicBezTo>
                  <a:pt x="10920172" y="15589"/>
                  <a:pt x="11005408" y="-31187"/>
                  <a:pt x="11131494" y="32404"/>
                </a:cubicBezTo>
              </a:path>
            </a:pathLst>
          </a:cu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 sz="1795" dirty="0"/>
          </a:p>
        </p:txBody>
      </p:sp>
      <p:sp>
        <p:nvSpPr>
          <p:cNvPr id="89" name="Rettangolo arrotondato 9">
            <a:extLst>
              <a:ext uri="{FF2B5EF4-FFF2-40B4-BE49-F238E27FC236}">
                <a16:creationId xmlns:a16="http://schemas.microsoft.com/office/drawing/2014/main" id="{5722EED2-9E1D-7DC6-B814-623122F12B70}"/>
              </a:ext>
            </a:extLst>
          </p:cNvPr>
          <p:cNvSpPr/>
          <p:nvPr/>
        </p:nvSpPr>
        <p:spPr>
          <a:xfrm>
            <a:off x="908959" y="3793570"/>
            <a:ext cx="2522582" cy="538527"/>
          </a:xfrm>
          <a:prstGeom prst="roundRect">
            <a:avLst>
              <a:gd name="adj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45346" rIns="45346">
            <a:normAutofit/>
          </a:bodyPr>
          <a:lstStyle/>
          <a:p>
            <a:pPr eaLnBrk="0" hangingPunct="0">
              <a:buClr>
                <a:schemeClr val="accent3"/>
              </a:buClr>
              <a:defRPr/>
            </a:pPr>
            <a:r>
              <a:rPr lang="en-US" altLang="en-US" sz="1596" b="1" kern="0" dirty="0">
                <a:solidFill>
                  <a:schemeClr val="tx1"/>
                </a:solidFill>
                <a:latin typeface="NotesEsa" panose="02000506030000020004" pitchFamily="2" charset="77"/>
                <a:cs typeface="Calibri" panose="020F0502020204030204" pitchFamily="34" charset="0"/>
              </a:rPr>
              <a:t>ScaleUp INNOVATE</a:t>
            </a: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4916A9DD-0B5D-47A8-74F1-D84BD01271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410" y="163728"/>
            <a:ext cx="10611078" cy="563659"/>
          </a:xfrm>
        </p:spPr>
        <p:txBody>
          <a:bodyPr/>
          <a:lstStyle/>
          <a:p>
            <a:r>
              <a:rPr lang="it-IT" dirty="0">
                <a:solidFill>
                  <a:srgbClr val="FEFFFF"/>
                </a:solidFill>
              </a:rPr>
              <a:t>ESA contributions in the EO company life-cycle</a:t>
            </a:r>
          </a:p>
        </p:txBody>
      </p:sp>
      <p:cxnSp>
        <p:nvCxnSpPr>
          <p:cNvPr id="12" name="Connettore 2 11">
            <a:extLst>
              <a:ext uri="{FF2B5EF4-FFF2-40B4-BE49-F238E27FC236}">
                <a16:creationId xmlns:a16="http://schemas.microsoft.com/office/drawing/2014/main" id="{C7CC9251-55FC-C8EC-AA61-D2E59CCC6BEF}"/>
              </a:ext>
            </a:extLst>
          </p:cNvPr>
          <p:cNvCxnSpPr>
            <a:cxnSpLocks/>
          </p:cNvCxnSpPr>
          <p:nvPr/>
        </p:nvCxnSpPr>
        <p:spPr>
          <a:xfrm flipV="1">
            <a:off x="771079" y="961786"/>
            <a:ext cx="13121" cy="5098313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ttore 2 12">
            <a:extLst>
              <a:ext uri="{FF2B5EF4-FFF2-40B4-BE49-F238E27FC236}">
                <a16:creationId xmlns:a16="http://schemas.microsoft.com/office/drawing/2014/main" id="{DDE35130-0088-4C27-F901-24E546ECEE0B}"/>
              </a:ext>
            </a:extLst>
          </p:cNvPr>
          <p:cNvCxnSpPr>
            <a:cxnSpLocks/>
          </p:cNvCxnSpPr>
          <p:nvPr/>
        </p:nvCxnSpPr>
        <p:spPr>
          <a:xfrm>
            <a:off x="659550" y="5955133"/>
            <a:ext cx="10693580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Segnaposto testo 2">
            <a:extLst>
              <a:ext uri="{FF2B5EF4-FFF2-40B4-BE49-F238E27FC236}">
                <a16:creationId xmlns:a16="http://schemas.microsoft.com/office/drawing/2014/main" id="{A1AAE1AC-28F6-F814-C1F8-5DA19CE3977C}"/>
              </a:ext>
            </a:extLst>
          </p:cNvPr>
          <p:cNvSpPr txBox="1">
            <a:spLocks/>
          </p:cNvSpPr>
          <p:nvPr/>
        </p:nvSpPr>
        <p:spPr bwMode="auto">
          <a:xfrm rot="16200000">
            <a:off x="-1980169" y="3220705"/>
            <a:ext cx="5244568" cy="257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191" tIns="45595" rIns="91191" bIns="45595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1pPr>
            <a:lvl2pPr marL="808038" indent="-350838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2pPr>
            <a:lvl3pPr marL="1406525" indent="-492125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3pPr>
            <a:lvl4pPr marL="2005013" indent="-633413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4pPr>
            <a:lvl5pPr marL="2603500" indent="-7747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5pPr>
            <a:lvl6pPr marL="34798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6pPr>
            <a:lvl7pPr marL="39370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7pPr>
            <a:lvl8pPr marL="43942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8pPr>
            <a:lvl9pPr marL="48514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9pPr>
          </a:lstStyle>
          <a:p>
            <a:pPr marL="0" indent="0" eaLnBrk="0" hangingPunct="0">
              <a:lnSpc>
                <a:spcPct val="100000"/>
              </a:lnSpc>
              <a:buClr>
                <a:schemeClr val="accent3"/>
              </a:buClr>
              <a:defRPr/>
            </a:pPr>
            <a:r>
              <a:rPr lang="en-US" altLang="en-US" sz="1197" kern="0" dirty="0">
                <a:latin typeface="NotesEsa" panose="02000506030000020004" pitchFamily="2" charset="77"/>
                <a:cs typeface="Calibri" panose="020F0502020204030204" pitchFamily="34" charset="0"/>
              </a:rPr>
              <a:t>Business Readiness Level               BRL 0     BRL 1      BRL 2-7             BRL 9</a:t>
            </a:r>
          </a:p>
          <a:p>
            <a:pPr marL="0" indent="0" eaLnBrk="0" hangingPunct="0">
              <a:lnSpc>
                <a:spcPct val="100000"/>
              </a:lnSpc>
              <a:buClr>
                <a:schemeClr val="accent3"/>
              </a:buClr>
              <a:defRPr/>
            </a:pPr>
            <a:endParaRPr lang="en-US" altLang="en-US" sz="1197" kern="0" dirty="0">
              <a:latin typeface="NotesEsa" panose="02000506030000020004" pitchFamily="2" charset="77"/>
              <a:cs typeface="Calibri" panose="020F0502020204030204" pitchFamily="34" charset="0"/>
            </a:endParaRPr>
          </a:p>
        </p:txBody>
      </p:sp>
      <p:sp>
        <p:nvSpPr>
          <p:cNvPr id="30" name="Segnaposto testo 2">
            <a:extLst>
              <a:ext uri="{FF2B5EF4-FFF2-40B4-BE49-F238E27FC236}">
                <a16:creationId xmlns:a16="http://schemas.microsoft.com/office/drawing/2014/main" id="{F88BF032-4876-F99E-CCC6-8E2F1C5E7F4A}"/>
              </a:ext>
            </a:extLst>
          </p:cNvPr>
          <p:cNvSpPr txBox="1">
            <a:spLocks/>
          </p:cNvSpPr>
          <p:nvPr/>
        </p:nvSpPr>
        <p:spPr bwMode="auto">
          <a:xfrm>
            <a:off x="7166021" y="4597735"/>
            <a:ext cx="2362411" cy="257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191" tIns="45595" rIns="91191" bIns="45595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1pPr>
            <a:lvl2pPr marL="808038" indent="-350838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2pPr>
            <a:lvl3pPr marL="1406525" indent="-492125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3pPr>
            <a:lvl4pPr marL="2005013" indent="-633413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4pPr>
            <a:lvl5pPr marL="2603500" indent="-7747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5pPr>
            <a:lvl6pPr marL="34798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6pPr>
            <a:lvl7pPr marL="39370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7pPr>
            <a:lvl8pPr marL="43942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8pPr>
            <a:lvl9pPr marL="48514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9pPr>
          </a:lstStyle>
          <a:p>
            <a:pPr marL="0" indent="0" algn="ctr" eaLnBrk="0" hangingPunct="0">
              <a:lnSpc>
                <a:spcPct val="100000"/>
              </a:lnSpc>
              <a:buClr>
                <a:schemeClr val="accent3"/>
              </a:buClr>
              <a:defRPr/>
            </a:pPr>
            <a:r>
              <a:rPr lang="en-US" altLang="en-US" sz="1596" kern="0" dirty="0">
                <a:solidFill>
                  <a:schemeClr val="accent2">
                    <a:lumMod val="75000"/>
                  </a:schemeClr>
                </a:solidFill>
                <a:latin typeface="NotesEsa" panose="02000506030000020004" pitchFamily="2" charset="77"/>
                <a:cs typeface="Calibri" panose="020F0502020204030204" pitchFamily="34" charset="0"/>
              </a:rPr>
              <a:t>GROWTH CAPITAL</a:t>
            </a:r>
            <a:br>
              <a:rPr lang="en-US" altLang="en-US" sz="1596" kern="0" dirty="0">
                <a:solidFill>
                  <a:schemeClr val="accent2">
                    <a:lumMod val="75000"/>
                  </a:schemeClr>
                </a:solidFill>
                <a:latin typeface="NotesEsa" panose="02000506030000020004" pitchFamily="2" charset="77"/>
                <a:cs typeface="Calibri" panose="020F0502020204030204" pitchFamily="34" charset="0"/>
              </a:rPr>
            </a:br>
            <a:r>
              <a:rPr lang="en-US" altLang="en-US" sz="1596" b="1" kern="0" dirty="0">
                <a:solidFill>
                  <a:schemeClr val="accent2">
                    <a:lumMod val="75000"/>
                  </a:schemeClr>
                </a:solidFill>
                <a:latin typeface="NotesEsa" panose="02000506030000020004" pitchFamily="2" charset="77"/>
                <a:cs typeface="Calibri" panose="020F0502020204030204" pitchFamily="34" charset="0"/>
              </a:rPr>
              <a:t>&gt; 10 M€</a:t>
            </a:r>
          </a:p>
          <a:p>
            <a:pPr marL="0" indent="0" algn="ctr" eaLnBrk="0" hangingPunct="0">
              <a:lnSpc>
                <a:spcPct val="100000"/>
              </a:lnSpc>
              <a:buClr>
                <a:schemeClr val="accent3"/>
              </a:buClr>
              <a:defRPr/>
            </a:pPr>
            <a:r>
              <a:rPr lang="en-US" altLang="en-US" sz="997" kern="0" dirty="0">
                <a:solidFill>
                  <a:schemeClr val="accent2">
                    <a:lumMod val="75000"/>
                  </a:schemeClr>
                </a:solidFill>
                <a:latin typeface="NotesEsa" panose="02000506030000020004" pitchFamily="2" charset="77"/>
                <a:cs typeface="Calibri" panose="020F0502020204030204" pitchFamily="34" charset="0"/>
              </a:rPr>
              <a:t>PRIVATE EQUITY/LEVERAGED BUYOUT</a:t>
            </a:r>
            <a:endParaRPr lang="en-US" altLang="en-US" sz="997" b="1" kern="0" dirty="0">
              <a:solidFill>
                <a:schemeClr val="accent2">
                  <a:lumMod val="75000"/>
                </a:schemeClr>
              </a:solidFill>
              <a:latin typeface="NotesEsa" panose="02000506030000020004" pitchFamily="2" charset="77"/>
              <a:cs typeface="Calibri" panose="020F0502020204030204" pitchFamily="34" charset="0"/>
            </a:endParaRPr>
          </a:p>
        </p:txBody>
      </p:sp>
      <p:sp>
        <p:nvSpPr>
          <p:cNvPr id="31" name="Segnaposto testo 2">
            <a:extLst>
              <a:ext uri="{FF2B5EF4-FFF2-40B4-BE49-F238E27FC236}">
                <a16:creationId xmlns:a16="http://schemas.microsoft.com/office/drawing/2014/main" id="{8356C129-2D1A-5CC0-FE82-B42C6C16D46B}"/>
              </a:ext>
            </a:extLst>
          </p:cNvPr>
          <p:cNvSpPr txBox="1">
            <a:spLocks/>
          </p:cNvSpPr>
          <p:nvPr/>
        </p:nvSpPr>
        <p:spPr bwMode="auto">
          <a:xfrm>
            <a:off x="9465631" y="3297648"/>
            <a:ext cx="2362411" cy="257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191" tIns="45595" rIns="91191" bIns="45595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1pPr>
            <a:lvl2pPr marL="808038" indent="-350838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2pPr>
            <a:lvl3pPr marL="1406525" indent="-492125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3pPr>
            <a:lvl4pPr marL="2005013" indent="-633413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4pPr>
            <a:lvl5pPr marL="2603500" indent="-7747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5pPr>
            <a:lvl6pPr marL="34798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6pPr>
            <a:lvl7pPr marL="39370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7pPr>
            <a:lvl8pPr marL="43942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8pPr>
            <a:lvl9pPr marL="48514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9pPr>
          </a:lstStyle>
          <a:p>
            <a:pPr marL="0" indent="0" algn="ctr" eaLnBrk="0" hangingPunct="0">
              <a:lnSpc>
                <a:spcPct val="100000"/>
              </a:lnSpc>
              <a:buClr>
                <a:schemeClr val="accent3"/>
              </a:buClr>
              <a:defRPr/>
            </a:pPr>
            <a:r>
              <a:rPr lang="en-US" altLang="en-US" sz="1596" kern="0" dirty="0">
                <a:solidFill>
                  <a:schemeClr val="accent2">
                    <a:lumMod val="75000"/>
                  </a:schemeClr>
                </a:solidFill>
                <a:latin typeface="NotesEsa" panose="02000506030000020004" pitchFamily="2" charset="77"/>
                <a:cs typeface="Calibri" panose="020F0502020204030204" pitchFamily="34" charset="0"/>
              </a:rPr>
              <a:t>TURN AROUNDS</a:t>
            </a:r>
            <a:br>
              <a:rPr lang="en-US" altLang="en-US" sz="1596" kern="0" dirty="0">
                <a:solidFill>
                  <a:schemeClr val="accent2">
                    <a:lumMod val="75000"/>
                  </a:schemeClr>
                </a:solidFill>
                <a:latin typeface="NotesEsa" panose="02000506030000020004" pitchFamily="2" charset="77"/>
                <a:cs typeface="Calibri" panose="020F0502020204030204" pitchFamily="34" charset="0"/>
              </a:rPr>
            </a:br>
            <a:r>
              <a:rPr lang="en-US" altLang="en-US" sz="1596" b="1" kern="0" dirty="0">
                <a:solidFill>
                  <a:schemeClr val="accent2">
                    <a:lumMod val="75000"/>
                  </a:schemeClr>
                </a:solidFill>
                <a:latin typeface="NotesEsa" panose="02000506030000020004" pitchFamily="2" charset="77"/>
                <a:cs typeface="Calibri" panose="020F0502020204030204" pitchFamily="34" charset="0"/>
              </a:rPr>
              <a:t>&gt; 10 M€</a:t>
            </a:r>
          </a:p>
          <a:p>
            <a:pPr marL="0" indent="0" algn="ctr" eaLnBrk="0" hangingPunct="0">
              <a:lnSpc>
                <a:spcPct val="100000"/>
              </a:lnSpc>
              <a:buClr>
                <a:schemeClr val="accent3"/>
              </a:buClr>
              <a:defRPr/>
            </a:pPr>
            <a:r>
              <a:rPr lang="en-US" altLang="en-US" sz="997" kern="0" dirty="0">
                <a:solidFill>
                  <a:schemeClr val="accent2">
                    <a:lumMod val="75000"/>
                  </a:schemeClr>
                </a:solidFill>
                <a:latin typeface="NotesEsa" panose="02000506030000020004" pitchFamily="2" charset="77"/>
                <a:cs typeface="Calibri" panose="020F0502020204030204" pitchFamily="34" charset="0"/>
              </a:rPr>
              <a:t>INSTITUTIONAL INVESTORS</a:t>
            </a:r>
            <a:endParaRPr lang="en-US" altLang="en-US" sz="997" b="1" kern="0" dirty="0">
              <a:solidFill>
                <a:schemeClr val="accent2">
                  <a:lumMod val="75000"/>
                </a:schemeClr>
              </a:solidFill>
              <a:latin typeface="NotesEsa" panose="02000506030000020004" pitchFamily="2" charset="77"/>
              <a:cs typeface="Calibri" panose="020F050202020403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DBA67D3-85C0-7387-C7C0-430ED55F03C7}"/>
              </a:ext>
            </a:extLst>
          </p:cNvPr>
          <p:cNvGrpSpPr/>
          <p:nvPr/>
        </p:nvGrpSpPr>
        <p:grpSpPr>
          <a:xfrm>
            <a:off x="5444971" y="1459069"/>
            <a:ext cx="959330" cy="4763186"/>
            <a:chOff x="4939751" y="1453683"/>
            <a:chExt cx="961953" cy="4776210"/>
          </a:xfrm>
        </p:grpSpPr>
        <p:cxnSp>
          <p:nvCxnSpPr>
            <p:cNvPr id="25" name="Connettore 1 24">
              <a:extLst>
                <a:ext uri="{FF2B5EF4-FFF2-40B4-BE49-F238E27FC236}">
                  <a16:creationId xmlns:a16="http://schemas.microsoft.com/office/drawing/2014/main" id="{4672D7D7-4597-6C94-05AB-8208429C3E0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20727" y="1453683"/>
              <a:ext cx="0" cy="4517574"/>
            </a:xfrm>
            <a:prstGeom prst="line">
              <a:avLst/>
            </a:prstGeom>
            <a:ln w="25400">
              <a:solidFill>
                <a:schemeClr val="accent5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Segnaposto testo 2">
              <a:extLst>
                <a:ext uri="{FF2B5EF4-FFF2-40B4-BE49-F238E27FC236}">
                  <a16:creationId xmlns:a16="http://schemas.microsoft.com/office/drawing/2014/main" id="{20DD2C5A-8B07-6F77-6EFA-CD1C62F42CC3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939751" y="5971257"/>
              <a:ext cx="961953" cy="2586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FAA26D3D-D897-4be2-8F04-BA451C77F1D7}">
                <ma14:placeholderFlag xmlns:ma14="http://schemas.microsoft.com/office/mac/drawingml/2011/main" xmlns="" val="1"/>
              </a:ext>
            </a:extLst>
          </p:spPr>
          <p:txBody>
            <a:bodyPr vert="horz" wrap="square" lIns="91191" tIns="45595" rIns="91191" bIns="45595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lnSpc>
                  <a:spcPct val="119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Verdana" charset="0"/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Arial" charset="0"/>
                </a:defRPr>
              </a:lvl1pPr>
              <a:lvl2pPr marL="808038" indent="-350838" algn="l" rtl="0" eaLnBrk="1" fontAlgn="base" hangingPunct="1">
                <a:lnSpc>
                  <a:spcPct val="119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+mj-lt" charset="0"/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Arial" charset="0"/>
                </a:defRPr>
              </a:lvl2pPr>
              <a:lvl3pPr marL="1406525" indent="-492125" algn="l" rtl="0" eaLnBrk="1" fontAlgn="base" hangingPunct="1">
                <a:lnSpc>
                  <a:spcPct val="119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+mj-lt" charset="0"/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Arial" charset="0"/>
                </a:defRPr>
              </a:lvl3pPr>
              <a:lvl4pPr marL="2005013" indent="-633413" algn="l" rtl="0" eaLnBrk="1" fontAlgn="base" hangingPunct="1">
                <a:lnSpc>
                  <a:spcPct val="119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+mj-lt" charset="0"/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Arial" charset="0"/>
                </a:defRPr>
              </a:lvl4pPr>
              <a:lvl5pPr marL="2603500" indent="-774700" algn="l" rtl="0" eaLnBrk="1" fontAlgn="base" hangingPunct="1">
                <a:lnSpc>
                  <a:spcPct val="119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+mj-lt" charset="0"/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  <a:cs typeface="Arial" charset="0"/>
                </a:defRPr>
              </a:lvl5pPr>
              <a:lvl6pPr marL="3479800" indent="-419100" algn="l" rtl="0" eaLnBrk="1" fontAlgn="base" hangingPunct="1">
                <a:lnSpc>
                  <a:spcPct val="119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Verdana" pitchFamily="34" charset="0"/>
                <a:buChar char="–"/>
                <a:defRPr sz="1600">
                  <a:solidFill>
                    <a:schemeClr val="bg2"/>
                  </a:solidFill>
                  <a:latin typeface="+mn-lt"/>
                </a:defRPr>
              </a:lvl6pPr>
              <a:lvl7pPr marL="3937000" indent="-419100" algn="l" rtl="0" eaLnBrk="1" fontAlgn="base" hangingPunct="1">
                <a:lnSpc>
                  <a:spcPct val="119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Verdana" pitchFamily="34" charset="0"/>
                <a:buChar char="–"/>
                <a:defRPr sz="1600">
                  <a:solidFill>
                    <a:schemeClr val="bg2"/>
                  </a:solidFill>
                  <a:latin typeface="+mn-lt"/>
                </a:defRPr>
              </a:lvl7pPr>
              <a:lvl8pPr marL="4394200" indent="-419100" algn="l" rtl="0" eaLnBrk="1" fontAlgn="base" hangingPunct="1">
                <a:lnSpc>
                  <a:spcPct val="119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Verdana" pitchFamily="34" charset="0"/>
                <a:buChar char="–"/>
                <a:defRPr sz="1600">
                  <a:solidFill>
                    <a:schemeClr val="bg2"/>
                  </a:solidFill>
                  <a:latin typeface="+mn-lt"/>
                </a:defRPr>
              </a:lvl8pPr>
              <a:lvl9pPr marL="4851400" indent="-419100" algn="l" rtl="0" eaLnBrk="1" fontAlgn="base" hangingPunct="1">
                <a:lnSpc>
                  <a:spcPct val="119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Verdana" pitchFamily="34" charset="0"/>
                <a:buChar char="–"/>
                <a:defRPr sz="1600">
                  <a:solidFill>
                    <a:schemeClr val="bg2"/>
                  </a:solidFill>
                  <a:latin typeface="+mn-lt"/>
                </a:defRPr>
              </a:lvl9pPr>
            </a:lstStyle>
            <a:p>
              <a:pPr marL="0" indent="0" algn="ctr" eaLnBrk="0" hangingPunct="0">
                <a:lnSpc>
                  <a:spcPct val="100000"/>
                </a:lnSpc>
                <a:buClr>
                  <a:schemeClr val="accent3"/>
                </a:buClr>
                <a:defRPr/>
              </a:pPr>
              <a:r>
                <a:rPr lang="en-US" altLang="en-US" sz="1197" kern="0" dirty="0">
                  <a:latin typeface="NotesEsa" panose="02000506030000020004" pitchFamily="2" charset="77"/>
                  <a:cs typeface="Calibri" panose="020F0502020204030204" pitchFamily="34" charset="0"/>
                </a:rPr>
                <a:t>TRL 9</a:t>
              </a:r>
            </a:p>
          </p:txBody>
        </p:sp>
      </p:grpSp>
      <p:sp>
        <p:nvSpPr>
          <p:cNvPr id="37" name="Segnaposto testo 2">
            <a:extLst>
              <a:ext uri="{FF2B5EF4-FFF2-40B4-BE49-F238E27FC236}">
                <a16:creationId xmlns:a16="http://schemas.microsoft.com/office/drawing/2014/main" id="{4F46FC37-EF9E-27EE-89AF-ECE787DFE3B6}"/>
              </a:ext>
            </a:extLst>
          </p:cNvPr>
          <p:cNvSpPr txBox="1">
            <a:spLocks/>
          </p:cNvSpPr>
          <p:nvPr/>
        </p:nvSpPr>
        <p:spPr bwMode="auto">
          <a:xfrm>
            <a:off x="739849" y="5934011"/>
            <a:ext cx="2800027" cy="257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191" tIns="45595" rIns="91191" bIns="45595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1pPr>
            <a:lvl2pPr marL="808038" indent="-350838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2pPr>
            <a:lvl3pPr marL="1406525" indent="-492125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3pPr>
            <a:lvl4pPr marL="2005013" indent="-633413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4pPr>
            <a:lvl5pPr marL="2603500" indent="-7747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5pPr>
            <a:lvl6pPr marL="34798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6pPr>
            <a:lvl7pPr marL="39370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7pPr>
            <a:lvl8pPr marL="43942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8pPr>
            <a:lvl9pPr marL="48514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9pPr>
          </a:lstStyle>
          <a:p>
            <a:pPr marL="0" indent="0" eaLnBrk="0" hangingPunct="0">
              <a:lnSpc>
                <a:spcPct val="100000"/>
              </a:lnSpc>
              <a:buClr>
                <a:schemeClr val="accent3"/>
              </a:buClr>
              <a:defRPr/>
            </a:pPr>
            <a:r>
              <a:rPr lang="en-US" altLang="en-US" sz="1197" kern="0" dirty="0">
                <a:latin typeface="NotesEsa" panose="02000506030000020004" pitchFamily="2" charset="77"/>
                <a:cs typeface="Calibri" panose="020F0502020204030204" pitchFamily="34" charset="0"/>
              </a:rPr>
              <a:t>TRL 1.                   TRL 3</a:t>
            </a:r>
          </a:p>
        </p:txBody>
      </p:sp>
      <p:sp>
        <p:nvSpPr>
          <p:cNvPr id="39" name="Segnaposto testo 2">
            <a:extLst>
              <a:ext uri="{FF2B5EF4-FFF2-40B4-BE49-F238E27FC236}">
                <a16:creationId xmlns:a16="http://schemas.microsoft.com/office/drawing/2014/main" id="{2C7FF7B7-0D30-252B-D292-B3441B79CEF4}"/>
              </a:ext>
            </a:extLst>
          </p:cNvPr>
          <p:cNvSpPr txBox="1">
            <a:spLocks/>
          </p:cNvSpPr>
          <p:nvPr/>
        </p:nvSpPr>
        <p:spPr bwMode="auto">
          <a:xfrm>
            <a:off x="801235" y="5246017"/>
            <a:ext cx="1173248" cy="4985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191" tIns="45595" rIns="91191" bIns="45595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1pPr>
            <a:lvl2pPr marL="808038" indent="-350838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2pPr>
            <a:lvl3pPr marL="1406525" indent="-492125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3pPr>
            <a:lvl4pPr marL="2005013" indent="-633413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4pPr>
            <a:lvl5pPr marL="2603500" indent="-7747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5pPr>
            <a:lvl6pPr marL="34798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6pPr>
            <a:lvl7pPr marL="39370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7pPr>
            <a:lvl8pPr marL="43942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8pPr>
            <a:lvl9pPr marL="48514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9pPr>
          </a:lstStyle>
          <a:p>
            <a:pPr marL="0" indent="0" algn="ctr" eaLnBrk="0" hangingPunct="0">
              <a:lnSpc>
                <a:spcPct val="100000"/>
              </a:lnSpc>
              <a:buClr>
                <a:schemeClr val="accent3"/>
              </a:buClr>
              <a:defRPr/>
            </a:pPr>
            <a:r>
              <a:rPr lang="en-US" altLang="en-US" sz="1596" kern="0" dirty="0">
                <a:solidFill>
                  <a:schemeClr val="accent2">
                    <a:lumMod val="75000"/>
                  </a:schemeClr>
                </a:solidFill>
                <a:latin typeface="NotesEsa" panose="02000506030000020004" pitchFamily="2" charset="77"/>
                <a:cs typeface="Calibri" panose="020F0502020204030204" pitchFamily="34" charset="0"/>
              </a:rPr>
              <a:t>BUSINESS</a:t>
            </a:r>
            <a:br>
              <a:rPr lang="en-US" altLang="en-US" sz="1596" kern="0" dirty="0">
                <a:solidFill>
                  <a:schemeClr val="accent2">
                    <a:lumMod val="75000"/>
                  </a:schemeClr>
                </a:solidFill>
                <a:latin typeface="NotesEsa" panose="02000506030000020004" pitchFamily="2" charset="77"/>
                <a:cs typeface="Calibri" panose="020F0502020204030204" pitchFamily="34" charset="0"/>
              </a:rPr>
            </a:br>
            <a:r>
              <a:rPr lang="en-US" altLang="en-US" sz="1596" kern="0" dirty="0">
                <a:solidFill>
                  <a:schemeClr val="accent2">
                    <a:lumMod val="75000"/>
                  </a:schemeClr>
                </a:solidFill>
                <a:latin typeface="NotesEsa" panose="02000506030000020004" pitchFamily="2" charset="77"/>
                <a:cs typeface="Calibri" panose="020F0502020204030204" pitchFamily="34" charset="0"/>
              </a:rPr>
              <a:t>ANGEL</a:t>
            </a:r>
            <a:endParaRPr lang="en-US" altLang="en-US" sz="997" b="1" kern="0" dirty="0">
              <a:solidFill>
                <a:schemeClr val="accent2">
                  <a:lumMod val="75000"/>
                </a:schemeClr>
              </a:solidFill>
              <a:latin typeface="NotesEsa" panose="02000506030000020004" pitchFamily="2" charset="77"/>
              <a:cs typeface="Calibri" panose="020F0502020204030204" pitchFamily="34" charset="0"/>
            </a:endParaRPr>
          </a:p>
        </p:txBody>
      </p:sp>
      <p:sp>
        <p:nvSpPr>
          <p:cNvPr id="40" name="Segnaposto testo 2">
            <a:extLst>
              <a:ext uri="{FF2B5EF4-FFF2-40B4-BE49-F238E27FC236}">
                <a16:creationId xmlns:a16="http://schemas.microsoft.com/office/drawing/2014/main" id="{6C07F091-9AAB-D8E0-F064-F2E54729C435}"/>
              </a:ext>
            </a:extLst>
          </p:cNvPr>
          <p:cNvSpPr txBox="1">
            <a:spLocks/>
          </p:cNvSpPr>
          <p:nvPr/>
        </p:nvSpPr>
        <p:spPr bwMode="auto">
          <a:xfrm>
            <a:off x="1921991" y="5300835"/>
            <a:ext cx="1509550" cy="257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191" tIns="45595" rIns="91191" bIns="45595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1pPr>
            <a:lvl2pPr marL="808038" indent="-350838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2pPr>
            <a:lvl3pPr marL="1406525" indent="-492125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3pPr>
            <a:lvl4pPr marL="2005013" indent="-633413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4pPr>
            <a:lvl5pPr marL="2603500" indent="-7747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5pPr>
            <a:lvl6pPr marL="34798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6pPr>
            <a:lvl7pPr marL="39370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7pPr>
            <a:lvl8pPr marL="43942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8pPr>
            <a:lvl9pPr marL="48514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9pPr>
          </a:lstStyle>
          <a:p>
            <a:pPr marL="0" indent="0" algn="ctr" eaLnBrk="0" hangingPunct="0">
              <a:lnSpc>
                <a:spcPct val="100000"/>
              </a:lnSpc>
              <a:buClr>
                <a:schemeClr val="accent3"/>
              </a:buClr>
              <a:defRPr/>
            </a:pPr>
            <a:r>
              <a:rPr lang="en-US" altLang="en-US" sz="1596" b="1" kern="0" dirty="0">
                <a:solidFill>
                  <a:schemeClr val="accent2">
                    <a:lumMod val="75000"/>
                  </a:schemeClr>
                </a:solidFill>
                <a:latin typeface="NotesEsa" panose="02000506030000020004" pitchFamily="2" charset="77"/>
                <a:cs typeface="Calibri" panose="020F0502020204030204" pitchFamily="34" charset="0"/>
              </a:rPr>
              <a:t>10 k€ – 1 M€</a:t>
            </a:r>
          </a:p>
        </p:txBody>
      </p:sp>
      <p:cxnSp>
        <p:nvCxnSpPr>
          <p:cNvPr id="42" name="Connettore 2 41">
            <a:extLst>
              <a:ext uri="{FF2B5EF4-FFF2-40B4-BE49-F238E27FC236}">
                <a16:creationId xmlns:a16="http://schemas.microsoft.com/office/drawing/2014/main" id="{85BCFAA5-A294-B8C7-882E-F75FA709EB0B}"/>
              </a:ext>
            </a:extLst>
          </p:cNvPr>
          <p:cNvCxnSpPr>
            <a:cxnSpLocks/>
          </p:cNvCxnSpPr>
          <p:nvPr/>
        </p:nvCxnSpPr>
        <p:spPr>
          <a:xfrm>
            <a:off x="2117721" y="5648540"/>
            <a:ext cx="1124526" cy="0"/>
          </a:xfrm>
          <a:prstGeom prst="straightConnector1">
            <a:avLst/>
          </a:prstGeom>
          <a:ln w="25400">
            <a:solidFill>
              <a:schemeClr val="tx2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Segnaposto testo 2">
            <a:extLst>
              <a:ext uri="{FF2B5EF4-FFF2-40B4-BE49-F238E27FC236}">
                <a16:creationId xmlns:a16="http://schemas.microsoft.com/office/drawing/2014/main" id="{2F892B5B-1FA7-C3CD-A3F4-2B5389F6D847}"/>
              </a:ext>
            </a:extLst>
          </p:cNvPr>
          <p:cNvSpPr txBox="1">
            <a:spLocks/>
          </p:cNvSpPr>
          <p:nvPr/>
        </p:nvSpPr>
        <p:spPr bwMode="auto">
          <a:xfrm>
            <a:off x="3627324" y="5044889"/>
            <a:ext cx="2362411" cy="257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191" tIns="45595" rIns="91191" bIns="45595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1pPr>
            <a:lvl2pPr marL="808038" indent="-350838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2pPr>
            <a:lvl3pPr marL="1406525" indent="-492125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3pPr>
            <a:lvl4pPr marL="2005013" indent="-633413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4pPr>
            <a:lvl5pPr marL="2603500" indent="-7747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5pPr>
            <a:lvl6pPr marL="34798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6pPr>
            <a:lvl7pPr marL="39370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7pPr>
            <a:lvl8pPr marL="43942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8pPr>
            <a:lvl9pPr marL="48514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9pPr>
          </a:lstStyle>
          <a:p>
            <a:pPr marL="0" indent="0" algn="ctr" eaLnBrk="0" hangingPunct="0">
              <a:lnSpc>
                <a:spcPct val="100000"/>
              </a:lnSpc>
              <a:buClr>
                <a:schemeClr val="accent3"/>
              </a:buClr>
              <a:defRPr/>
            </a:pPr>
            <a:r>
              <a:rPr lang="en-US" altLang="en-US" sz="1596" kern="0" dirty="0">
                <a:solidFill>
                  <a:schemeClr val="accent2">
                    <a:lumMod val="75000"/>
                  </a:schemeClr>
                </a:solidFill>
                <a:latin typeface="NotesEsa" panose="02000506030000020004" pitchFamily="2" charset="77"/>
                <a:cs typeface="Calibri" panose="020F0502020204030204" pitchFamily="34" charset="0"/>
              </a:rPr>
              <a:t>VENTURE CAPITAL</a:t>
            </a:r>
            <a:br>
              <a:rPr lang="en-US" altLang="en-US" sz="1596" kern="0" dirty="0">
                <a:solidFill>
                  <a:schemeClr val="accent2">
                    <a:lumMod val="75000"/>
                  </a:schemeClr>
                </a:solidFill>
                <a:latin typeface="NotesEsa" panose="02000506030000020004" pitchFamily="2" charset="77"/>
                <a:cs typeface="Calibri" panose="020F0502020204030204" pitchFamily="34" charset="0"/>
              </a:rPr>
            </a:br>
            <a:r>
              <a:rPr lang="en-US" altLang="en-US" sz="1596" b="1" kern="0" dirty="0">
                <a:solidFill>
                  <a:schemeClr val="accent2">
                    <a:lumMod val="75000"/>
                  </a:schemeClr>
                </a:solidFill>
                <a:latin typeface="NotesEsa" panose="02000506030000020004" pitchFamily="2" charset="77"/>
                <a:cs typeface="Calibri" panose="020F0502020204030204" pitchFamily="34" charset="0"/>
              </a:rPr>
              <a:t>UP TO 10 M€</a:t>
            </a:r>
            <a:endParaRPr lang="en-US" altLang="en-US" sz="997" b="1" kern="0" dirty="0">
              <a:solidFill>
                <a:schemeClr val="accent2">
                  <a:lumMod val="75000"/>
                </a:schemeClr>
              </a:solidFill>
              <a:latin typeface="NotesEsa" panose="02000506030000020004" pitchFamily="2" charset="77"/>
              <a:cs typeface="Calibri" panose="020F0502020204030204" pitchFamily="34" charset="0"/>
            </a:endParaRPr>
          </a:p>
        </p:txBody>
      </p:sp>
      <p:sp>
        <p:nvSpPr>
          <p:cNvPr id="100" name="Ovale 99">
            <a:extLst>
              <a:ext uri="{FF2B5EF4-FFF2-40B4-BE49-F238E27FC236}">
                <a16:creationId xmlns:a16="http://schemas.microsoft.com/office/drawing/2014/main" id="{BFAA140C-C453-A636-0238-010A97F23B68}"/>
              </a:ext>
            </a:extLst>
          </p:cNvPr>
          <p:cNvSpPr/>
          <p:nvPr/>
        </p:nvSpPr>
        <p:spPr>
          <a:xfrm>
            <a:off x="4370924" y="4233417"/>
            <a:ext cx="777678" cy="777678"/>
          </a:xfrm>
          <a:prstGeom prst="ellipse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it-IT" sz="1795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01" name="Ovale 100">
            <a:extLst>
              <a:ext uri="{FF2B5EF4-FFF2-40B4-BE49-F238E27FC236}">
                <a16:creationId xmlns:a16="http://schemas.microsoft.com/office/drawing/2014/main" id="{7BDFCAF4-4B27-907D-D938-9684955B9DF9}"/>
              </a:ext>
            </a:extLst>
          </p:cNvPr>
          <p:cNvSpPr/>
          <p:nvPr/>
        </p:nvSpPr>
        <p:spPr>
          <a:xfrm>
            <a:off x="7955975" y="3794106"/>
            <a:ext cx="777678" cy="777678"/>
          </a:xfrm>
          <a:prstGeom prst="ellipse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95" dirty="0"/>
          </a:p>
        </p:txBody>
      </p:sp>
      <p:sp>
        <p:nvSpPr>
          <p:cNvPr id="102" name="Ovale 101">
            <a:extLst>
              <a:ext uri="{FF2B5EF4-FFF2-40B4-BE49-F238E27FC236}">
                <a16:creationId xmlns:a16="http://schemas.microsoft.com/office/drawing/2014/main" id="{05809972-AACB-925A-30A7-74BCC794F795}"/>
              </a:ext>
            </a:extLst>
          </p:cNvPr>
          <p:cNvSpPr/>
          <p:nvPr/>
        </p:nvSpPr>
        <p:spPr>
          <a:xfrm>
            <a:off x="10191304" y="2494019"/>
            <a:ext cx="777678" cy="777678"/>
          </a:xfrm>
          <a:prstGeom prst="ellipse">
            <a:avLst/>
          </a:prstGeom>
          <a:blipFill>
            <a:blip r:embed="rId4" cstate="screen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-8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95" dirty="0"/>
          </a:p>
        </p:txBody>
      </p:sp>
      <p:sp>
        <p:nvSpPr>
          <p:cNvPr id="49" name="Segnaposto testo 2">
            <a:extLst>
              <a:ext uri="{FF2B5EF4-FFF2-40B4-BE49-F238E27FC236}">
                <a16:creationId xmlns:a16="http://schemas.microsoft.com/office/drawing/2014/main" id="{0CA06576-252D-F07A-40F0-4228F9F8E9AD}"/>
              </a:ext>
            </a:extLst>
          </p:cNvPr>
          <p:cNvSpPr txBox="1">
            <a:spLocks/>
          </p:cNvSpPr>
          <p:nvPr/>
        </p:nvSpPr>
        <p:spPr bwMode="auto">
          <a:xfrm>
            <a:off x="5045052" y="1920820"/>
            <a:ext cx="2734414" cy="257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191" tIns="45595" rIns="91191" bIns="45595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1pPr>
            <a:lvl2pPr marL="808038" indent="-350838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2pPr>
            <a:lvl3pPr marL="1406525" indent="-492125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3pPr>
            <a:lvl4pPr marL="2005013" indent="-633413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4pPr>
            <a:lvl5pPr marL="2603500" indent="-7747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+mj-lt" charset="0"/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  <a:cs typeface="Arial" charset="0"/>
              </a:defRPr>
            </a:lvl5pPr>
            <a:lvl6pPr marL="34798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6pPr>
            <a:lvl7pPr marL="39370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7pPr>
            <a:lvl8pPr marL="43942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8pPr>
            <a:lvl9pPr marL="4851400" indent="-419100" algn="l" rtl="0" eaLnBrk="1" fontAlgn="base" hangingPunct="1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600">
                <a:solidFill>
                  <a:schemeClr val="bg2"/>
                </a:solidFill>
                <a:latin typeface="+mn-lt"/>
              </a:defRPr>
            </a:lvl9pPr>
          </a:lstStyle>
          <a:p>
            <a:pPr marL="0" indent="0" algn="ctr" eaLnBrk="0" hangingPunct="0">
              <a:lnSpc>
                <a:spcPct val="100000"/>
              </a:lnSpc>
              <a:buClr>
                <a:schemeClr val="accent3"/>
              </a:buClr>
              <a:defRPr/>
            </a:pPr>
            <a:endParaRPr lang="en-US" altLang="en-US" sz="1047" kern="0" dirty="0">
              <a:solidFill>
                <a:schemeClr val="bg1"/>
              </a:solidFill>
              <a:latin typeface="NotesEsa" panose="02000506030000020004" pitchFamily="2" charset="77"/>
              <a:cs typeface="Calibri" panose="020F0502020204030204" pitchFamily="34" charset="0"/>
            </a:endParaRPr>
          </a:p>
        </p:txBody>
      </p:sp>
      <p:sp>
        <p:nvSpPr>
          <p:cNvPr id="99" name="Rettangolo 98">
            <a:extLst>
              <a:ext uri="{FF2B5EF4-FFF2-40B4-BE49-F238E27FC236}">
                <a16:creationId xmlns:a16="http://schemas.microsoft.com/office/drawing/2014/main" id="{B9F34061-2056-3EB6-1368-8FF5E2B41941}"/>
              </a:ext>
            </a:extLst>
          </p:cNvPr>
          <p:cNvSpPr/>
          <p:nvPr/>
        </p:nvSpPr>
        <p:spPr>
          <a:xfrm>
            <a:off x="11584241" y="1705199"/>
            <a:ext cx="325036" cy="7059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95" dirty="0"/>
          </a:p>
        </p:txBody>
      </p:sp>
      <p:cxnSp>
        <p:nvCxnSpPr>
          <p:cNvPr id="5" name="Connettore 1 24">
            <a:extLst>
              <a:ext uri="{FF2B5EF4-FFF2-40B4-BE49-F238E27FC236}">
                <a16:creationId xmlns:a16="http://schemas.microsoft.com/office/drawing/2014/main" id="{D6E71BAA-80E9-1AA0-5B5F-A9541BCFB5DA}"/>
              </a:ext>
            </a:extLst>
          </p:cNvPr>
          <p:cNvCxnSpPr>
            <a:cxnSpLocks/>
          </p:cNvCxnSpPr>
          <p:nvPr/>
        </p:nvCxnSpPr>
        <p:spPr>
          <a:xfrm flipV="1">
            <a:off x="3450676" y="2178751"/>
            <a:ext cx="0" cy="3754122"/>
          </a:xfrm>
          <a:prstGeom prst="line">
            <a:avLst/>
          </a:prstGeom>
          <a:ln w="25400"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ttangolo arrotondato 9">
            <a:extLst>
              <a:ext uri="{FF2B5EF4-FFF2-40B4-BE49-F238E27FC236}">
                <a16:creationId xmlns:a16="http://schemas.microsoft.com/office/drawing/2014/main" id="{0FC14ED3-CE4C-D01E-877C-8C1E37B186E0}"/>
              </a:ext>
            </a:extLst>
          </p:cNvPr>
          <p:cNvSpPr/>
          <p:nvPr/>
        </p:nvSpPr>
        <p:spPr>
          <a:xfrm>
            <a:off x="908959" y="3210130"/>
            <a:ext cx="1563074" cy="538527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chemeClr val="accent3">
                  <a:lumMod val="67000"/>
                </a:schemeClr>
              </a:gs>
              <a:gs pos="77000">
                <a:schemeClr val="accent3">
                  <a:lumMod val="97000"/>
                  <a:lumOff val="3000"/>
                </a:schemeClr>
              </a:gs>
              <a:gs pos="100000">
                <a:schemeClr val="bg1"/>
              </a:gs>
            </a:gsLst>
            <a:lin ang="0" scaled="0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45346" rIns="45346">
            <a:normAutofit fontScale="55000" lnSpcReduction="20000"/>
          </a:bodyPr>
          <a:lstStyle/>
          <a:p>
            <a:pPr eaLnBrk="0" hangingPunct="0">
              <a:buClr>
                <a:schemeClr val="accent3"/>
              </a:buClr>
              <a:defRPr/>
            </a:pPr>
            <a:r>
              <a:rPr lang="en-US" altLang="en-US" sz="2792" b="1" kern="0" dirty="0">
                <a:solidFill>
                  <a:schemeClr val="bg1"/>
                </a:solidFill>
                <a:latin typeface="NotesEsa" panose="02000506030000020004" pitchFamily="2" charset="77"/>
                <a:cs typeface="Calibri" panose="020F0502020204030204" pitchFamily="34" charset="0"/>
              </a:rPr>
              <a:t>Technology Development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722607B-BEF8-BAC8-926C-EF7279D10EB2}"/>
              </a:ext>
            </a:extLst>
          </p:cNvPr>
          <p:cNvSpPr txBox="1"/>
          <p:nvPr/>
        </p:nvSpPr>
        <p:spPr>
          <a:xfrm>
            <a:off x="9504690" y="5955169"/>
            <a:ext cx="2017403" cy="2762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0" hangingPunct="0">
              <a:buClr>
                <a:schemeClr val="accent3"/>
              </a:buClr>
              <a:defRPr/>
            </a:pPr>
            <a:r>
              <a:rPr lang="en-US" altLang="en-US" sz="1197" kern="0" dirty="0">
                <a:latin typeface="NotesEsa" panose="02000506030000020004" pitchFamily="2" charset="77"/>
                <a:cs typeface="Calibri" panose="020F0502020204030204" pitchFamily="34" charset="0"/>
              </a:rPr>
              <a:t>Technology Readiness Level </a:t>
            </a:r>
          </a:p>
        </p:txBody>
      </p:sp>
      <p:sp>
        <p:nvSpPr>
          <p:cNvPr id="103" name="Ovale 102">
            <a:extLst>
              <a:ext uri="{FF2B5EF4-FFF2-40B4-BE49-F238E27FC236}">
                <a16:creationId xmlns:a16="http://schemas.microsoft.com/office/drawing/2014/main" id="{A8BA4F11-5D02-6326-5F9C-1CE7E0091F7E}"/>
              </a:ext>
            </a:extLst>
          </p:cNvPr>
          <p:cNvSpPr/>
          <p:nvPr/>
        </p:nvSpPr>
        <p:spPr>
          <a:xfrm>
            <a:off x="2192059" y="4421871"/>
            <a:ext cx="777678" cy="777678"/>
          </a:xfrm>
          <a:prstGeom prst="ellipse">
            <a:avLst/>
          </a:pr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95" dirty="0"/>
          </a:p>
        </p:txBody>
      </p:sp>
      <p:sp>
        <p:nvSpPr>
          <p:cNvPr id="9" name="Rettangolo arrotondato 9">
            <a:extLst>
              <a:ext uri="{FF2B5EF4-FFF2-40B4-BE49-F238E27FC236}">
                <a16:creationId xmlns:a16="http://schemas.microsoft.com/office/drawing/2014/main" id="{65B88FD5-2B38-6477-67AE-4C6E8A8D224F}"/>
              </a:ext>
            </a:extLst>
          </p:cNvPr>
          <p:cNvSpPr/>
          <p:nvPr/>
        </p:nvSpPr>
        <p:spPr>
          <a:xfrm>
            <a:off x="2042817" y="2043246"/>
            <a:ext cx="3894937" cy="538527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chemeClr val="accent3">
                  <a:lumMod val="67000"/>
                </a:schemeClr>
              </a:gs>
              <a:gs pos="77000">
                <a:schemeClr val="accent3">
                  <a:lumMod val="97000"/>
                  <a:lumOff val="3000"/>
                </a:schemeClr>
              </a:gs>
              <a:gs pos="100000">
                <a:schemeClr val="bg1"/>
              </a:gs>
            </a:gsLst>
            <a:lin ang="0" scaled="0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45346" rIns="45346">
            <a:normAutofit lnSpcReduction="10000"/>
          </a:bodyPr>
          <a:lstStyle/>
          <a:p>
            <a:pPr eaLnBrk="0" hangingPunct="0">
              <a:buClr>
                <a:schemeClr val="accent3"/>
              </a:buClr>
              <a:defRPr/>
            </a:pPr>
            <a:r>
              <a:rPr lang="en-US" altLang="en-US" sz="2792" b="1" kern="0" dirty="0">
                <a:solidFill>
                  <a:schemeClr val="bg1"/>
                </a:solidFill>
                <a:latin typeface="NotesEsa" panose="02000506030000020004" pitchFamily="2" charset="77"/>
                <a:cs typeface="Calibri" panose="020F0502020204030204" pitchFamily="34" charset="0"/>
              </a:rPr>
              <a:t>InCubed</a:t>
            </a:r>
          </a:p>
        </p:txBody>
      </p:sp>
      <p:sp>
        <p:nvSpPr>
          <p:cNvPr id="14" name="Rettangolo arrotondato 9">
            <a:extLst>
              <a:ext uri="{FF2B5EF4-FFF2-40B4-BE49-F238E27FC236}">
                <a16:creationId xmlns:a16="http://schemas.microsoft.com/office/drawing/2014/main" id="{FC547D23-AE38-69E0-F04E-724924AC63E4}"/>
              </a:ext>
            </a:extLst>
          </p:cNvPr>
          <p:cNvSpPr/>
          <p:nvPr/>
        </p:nvSpPr>
        <p:spPr>
          <a:xfrm>
            <a:off x="908959" y="2626688"/>
            <a:ext cx="1563074" cy="538527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chemeClr val="accent3">
                  <a:lumMod val="67000"/>
                </a:schemeClr>
              </a:gs>
              <a:gs pos="77000">
                <a:schemeClr val="accent3">
                  <a:lumMod val="97000"/>
                  <a:lumOff val="3000"/>
                </a:schemeClr>
              </a:gs>
              <a:gs pos="100000">
                <a:schemeClr val="bg1"/>
              </a:gs>
            </a:gsLst>
            <a:lin ang="0" scaled="0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45346" rIns="45346">
            <a:normAutofit fontScale="92500" lnSpcReduction="10000"/>
          </a:bodyPr>
          <a:lstStyle/>
          <a:p>
            <a:pPr eaLnBrk="0" hangingPunct="0">
              <a:buClr>
                <a:schemeClr val="accent3"/>
              </a:buClr>
              <a:defRPr/>
            </a:pPr>
            <a:r>
              <a:rPr lang="en-US" altLang="en-US" sz="2792" b="1" kern="0" dirty="0">
                <a:solidFill>
                  <a:schemeClr val="bg1"/>
                </a:solidFill>
                <a:latin typeface="NotesEsa" panose="02000506030000020004" pitchFamily="2" charset="77"/>
                <a:cs typeface="Calibri" panose="020F0502020204030204" pitchFamily="34" charset="0"/>
              </a:rPr>
              <a:t>Future EO</a:t>
            </a:r>
          </a:p>
          <a:p>
            <a:pPr eaLnBrk="0" hangingPunct="0">
              <a:buClr>
                <a:schemeClr val="accent3"/>
              </a:buClr>
              <a:defRPr/>
            </a:pPr>
            <a:endParaRPr lang="en-US" altLang="en-US" sz="2792" b="1" kern="0" dirty="0">
              <a:solidFill>
                <a:schemeClr val="bg1"/>
              </a:solidFill>
              <a:latin typeface="NotesEsa" panose="02000506030000020004" pitchFamily="2" charset="77"/>
              <a:cs typeface="Calibri" panose="020F0502020204030204" pitchFamily="34" charset="0"/>
            </a:endParaRPr>
          </a:p>
        </p:txBody>
      </p:sp>
      <p:sp>
        <p:nvSpPr>
          <p:cNvPr id="15" name="Rettangolo arrotondato 9">
            <a:extLst>
              <a:ext uri="{FF2B5EF4-FFF2-40B4-BE49-F238E27FC236}">
                <a16:creationId xmlns:a16="http://schemas.microsoft.com/office/drawing/2014/main" id="{A35D573F-DF02-A0ED-1C96-A30DDF6FCE02}"/>
              </a:ext>
            </a:extLst>
          </p:cNvPr>
          <p:cNvSpPr/>
          <p:nvPr/>
        </p:nvSpPr>
        <p:spPr>
          <a:xfrm>
            <a:off x="5070949" y="1459805"/>
            <a:ext cx="2258922" cy="538527"/>
          </a:xfrm>
          <a:prstGeom prst="roundRect">
            <a:avLst>
              <a:gd name="adj" fmla="val 16667"/>
            </a:avLst>
          </a:prstGeom>
          <a:gradFill flip="none" rotWithShape="1">
            <a:gsLst>
              <a:gs pos="0">
                <a:schemeClr val="accent3">
                  <a:lumMod val="67000"/>
                </a:schemeClr>
              </a:gs>
              <a:gs pos="77000">
                <a:schemeClr val="accent3">
                  <a:lumMod val="97000"/>
                  <a:lumOff val="3000"/>
                </a:schemeClr>
              </a:gs>
              <a:gs pos="100000">
                <a:schemeClr val="bg1"/>
              </a:gs>
            </a:gsLst>
            <a:lin ang="0" scaled="0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45346" rIns="45346">
            <a:normAutofit fontScale="62500" lnSpcReduction="20000"/>
          </a:bodyPr>
          <a:lstStyle/>
          <a:p>
            <a:pPr eaLnBrk="0" hangingPunct="0">
              <a:buClr>
                <a:schemeClr val="accent3"/>
              </a:buClr>
              <a:defRPr/>
            </a:pPr>
            <a:r>
              <a:rPr lang="en-US" altLang="en-US" sz="2792" b="1" kern="0" dirty="0">
                <a:solidFill>
                  <a:schemeClr val="bg1"/>
                </a:solidFill>
                <a:latin typeface="NotesEsa" panose="02000506030000020004" pitchFamily="2" charset="77"/>
                <a:cs typeface="Calibri" panose="020F0502020204030204" pitchFamily="34" charset="0"/>
              </a:rPr>
              <a:t>Data Buy</a:t>
            </a:r>
          </a:p>
          <a:p>
            <a:pPr eaLnBrk="0" hangingPunct="0">
              <a:buClr>
                <a:schemeClr val="accent3"/>
              </a:buClr>
              <a:defRPr/>
            </a:pPr>
            <a:r>
              <a:rPr lang="en-US" altLang="en-US" sz="1795" b="1" kern="0" dirty="0">
                <a:solidFill>
                  <a:schemeClr val="bg1"/>
                </a:solidFill>
                <a:latin typeface="NotesEsa" panose="02000506030000020004" pitchFamily="2" charset="77"/>
                <a:cs typeface="Calibri" panose="020F0502020204030204" pitchFamily="34" charset="0"/>
              </a:rPr>
              <a:t>(CCM/TPM)</a:t>
            </a:r>
          </a:p>
          <a:p>
            <a:pPr eaLnBrk="0" hangingPunct="0">
              <a:buClr>
                <a:schemeClr val="accent3"/>
              </a:buClr>
              <a:defRPr/>
            </a:pPr>
            <a:endParaRPr lang="en-US" altLang="en-US" sz="2792" b="1" kern="0" dirty="0">
              <a:solidFill>
                <a:schemeClr val="bg1"/>
              </a:solidFill>
              <a:latin typeface="NotesEsa" panose="02000506030000020004" pitchFamily="2" charset="77"/>
              <a:cs typeface="Calibri" panose="020F0502020204030204" pitchFamily="34" charset="0"/>
            </a:endParaRPr>
          </a:p>
        </p:txBody>
      </p:sp>
      <p:sp>
        <p:nvSpPr>
          <p:cNvPr id="90" name="Rettangolo arrotondato 9">
            <a:extLst>
              <a:ext uri="{FF2B5EF4-FFF2-40B4-BE49-F238E27FC236}">
                <a16:creationId xmlns:a16="http://schemas.microsoft.com/office/drawing/2014/main" id="{3898551D-34AD-6074-3F1B-92582E965A1B}"/>
              </a:ext>
            </a:extLst>
          </p:cNvPr>
          <p:cNvSpPr/>
          <p:nvPr/>
        </p:nvSpPr>
        <p:spPr>
          <a:xfrm>
            <a:off x="6595146" y="785576"/>
            <a:ext cx="3041623" cy="538527"/>
          </a:xfrm>
          <a:prstGeom prst="roundRect">
            <a:avLst>
              <a:gd name="adj" fmla="val 16667"/>
            </a:avLst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altLang="en-US" sz="1795">
                <a:solidFill>
                  <a:schemeClr val="tx1"/>
                </a:solidFill>
              </a:rPr>
              <a:t>ScaleUp INVEST</a:t>
            </a:r>
            <a:endParaRPr lang="en-US" altLang="en-US" sz="1795" dirty="0">
              <a:solidFill>
                <a:schemeClr val="tx1"/>
              </a:solidFill>
            </a:endParaRPr>
          </a:p>
        </p:txBody>
      </p:sp>
      <p:sp>
        <p:nvSpPr>
          <p:cNvPr id="18" name="Line Callout 1 17">
            <a:extLst>
              <a:ext uri="{FF2B5EF4-FFF2-40B4-BE49-F238E27FC236}">
                <a16:creationId xmlns:a16="http://schemas.microsoft.com/office/drawing/2014/main" id="{0BCD1F82-8C81-8898-7FF1-5F5289696BD3}"/>
              </a:ext>
            </a:extLst>
          </p:cNvPr>
          <p:cNvSpPr/>
          <p:nvPr/>
        </p:nvSpPr>
        <p:spPr>
          <a:xfrm>
            <a:off x="6595146" y="6215323"/>
            <a:ext cx="2359001" cy="282173"/>
          </a:xfrm>
          <a:prstGeom prst="borderCallout1">
            <a:avLst>
              <a:gd name="adj1" fmla="val 18750"/>
              <a:gd name="adj2" fmla="val -8333"/>
              <a:gd name="adj3" fmla="val 47178"/>
              <a:gd name="adj4" fmla="val -33312"/>
            </a:avLst>
          </a:prstGeom>
          <a:ln w="38100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T" sz="1795"/>
              <a:t>Company cash-flow</a:t>
            </a:r>
          </a:p>
        </p:txBody>
      </p:sp>
      <p:sp>
        <p:nvSpPr>
          <p:cNvPr id="3" name="Ovale 103">
            <a:extLst>
              <a:ext uri="{FF2B5EF4-FFF2-40B4-BE49-F238E27FC236}">
                <a16:creationId xmlns:a16="http://schemas.microsoft.com/office/drawing/2014/main" id="{152696F7-E8F5-7B21-25F0-4F92AB2B65DC}"/>
              </a:ext>
            </a:extLst>
          </p:cNvPr>
          <p:cNvSpPr/>
          <p:nvPr/>
        </p:nvSpPr>
        <p:spPr>
          <a:xfrm>
            <a:off x="982402" y="4381521"/>
            <a:ext cx="777678" cy="777678"/>
          </a:xfrm>
          <a:prstGeom prst="ellipse">
            <a:avLst/>
          </a:prstGeo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795" dirty="0"/>
          </a:p>
        </p:txBody>
      </p:sp>
    </p:spTree>
    <p:extLst>
      <p:ext uri="{BB962C8B-B14F-4D97-AF65-F5344CB8AC3E}">
        <p14:creationId xmlns:p14="http://schemas.microsoft.com/office/powerpoint/2010/main" val="34275097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A18AA4DF-4FBE-A9A8-2042-0C132273625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7314" y="4231818"/>
            <a:ext cx="2264719" cy="215484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DE53EF1-55DA-67AC-652F-815B73BEF3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41965" y="3223183"/>
            <a:ext cx="1876560" cy="171789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D4ACE6A-9203-6363-864E-DC7F2D847E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411" y="161010"/>
            <a:ext cx="10081234" cy="552780"/>
          </a:xfrm>
        </p:spPr>
        <p:txBody>
          <a:bodyPr/>
          <a:lstStyle/>
          <a:p>
            <a:r>
              <a:rPr lang="en-GB" dirty="0"/>
              <a:t>ESA as a Partner – InCubed - Key Characteristic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D36B38-AD40-DA2F-3605-BE1BB1972E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9776" y="734766"/>
            <a:ext cx="7694041" cy="3222354"/>
          </a:xfrm>
        </p:spPr>
        <p:txBody>
          <a:bodyPr/>
          <a:lstStyle/>
          <a:p>
            <a:r>
              <a:rPr lang="en-GB" sz="2800" dirty="0">
                <a:solidFill>
                  <a:schemeClr val="tx1"/>
                </a:solidFill>
              </a:rPr>
              <a:t>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schemeClr val="tx1"/>
                </a:solidFill>
              </a:rPr>
              <a:t> ESA, Industry and National Delegations are partner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GB" sz="28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schemeClr val="tx1"/>
                </a:solidFill>
              </a:rPr>
              <a:t> No Statement of Work  - Industry idea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GB" sz="28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schemeClr val="tx1"/>
                </a:solidFill>
              </a:rPr>
              <a:t> A promising business case – road to market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GB" sz="28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schemeClr val="tx1"/>
                </a:solidFill>
              </a:rPr>
              <a:t> Technology not yet ready – target an MVP</a:t>
            </a:r>
          </a:p>
          <a:p>
            <a:endParaRPr lang="en-GB" dirty="0">
              <a:solidFill>
                <a:schemeClr val="tx1"/>
              </a:solidFill>
            </a:endParaRP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pic>
        <p:nvPicPr>
          <p:cNvPr id="1026" name="Picture 2" descr="statement of work in project management">
            <a:extLst>
              <a:ext uri="{FF2B5EF4-FFF2-40B4-BE49-F238E27FC236}">
                <a16:creationId xmlns:a16="http://schemas.microsoft.com/office/drawing/2014/main" id="{9AB16CB0-C7A4-4DF9-2125-6CADC87C4B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0816" y="2052876"/>
            <a:ext cx="1876561" cy="1376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4F6E611-36C0-C0F7-9B41-FABE12C424C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8220"/>
          <a:stretch/>
        </p:blipFill>
        <p:spPr>
          <a:xfrm>
            <a:off x="8148337" y="999919"/>
            <a:ext cx="2031895" cy="1125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25395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4ACE6A-9203-6363-864E-DC7F2D847E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411" y="161010"/>
            <a:ext cx="10081234" cy="552780"/>
          </a:xfrm>
        </p:spPr>
        <p:txBody>
          <a:bodyPr/>
          <a:lstStyle/>
          <a:p>
            <a:r>
              <a:rPr lang="en-GB" dirty="0"/>
              <a:t>ESA as a Partner – InCubed – What ESA off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D36B38-AD40-DA2F-3605-BE1BB1972E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9511" y="1191934"/>
            <a:ext cx="7694041" cy="3222354"/>
          </a:xfrm>
        </p:spPr>
        <p:txBody>
          <a:bodyPr/>
          <a:lstStyle/>
          <a:p>
            <a:pPr marL="457200" indent="-457200"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schemeClr val="tx1"/>
                </a:solidFill>
              </a:rPr>
              <a:t>Risk sharing - Equity free co-funding</a:t>
            </a:r>
          </a:p>
          <a:p>
            <a:endParaRPr lang="en-GB" sz="2800" dirty="0">
              <a:solidFill>
                <a:schemeClr val="tx1"/>
              </a:solidFill>
            </a:endParaRPr>
          </a:p>
          <a:p>
            <a:endParaRPr lang="en-GB" sz="28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schemeClr val="tx1"/>
                </a:solidFill>
              </a:rPr>
              <a:t>  ESA technical expertise, business development</a:t>
            </a:r>
          </a:p>
          <a:p>
            <a:endParaRPr lang="en-GB" sz="2800" dirty="0">
              <a:solidFill>
                <a:schemeClr val="tx1"/>
              </a:solidFill>
            </a:endParaRPr>
          </a:p>
          <a:p>
            <a:endParaRPr lang="en-GB" sz="280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sz="2800" dirty="0">
                <a:solidFill>
                  <a:schemeClr val="tx1"/>
                </a:solidFill>
              </a:rPr>
              <a:t>  Strong connection with private investors (through CIC)</a:t>
            </a:r>
          </a:p>
          <a:p>
            <a:endParaRPr lang="en-GB" dirty="0">
              <a:solidFill>
                <a:schemeClr val="tx1"/>
              </a:solidFill>
            </a:endParaRP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pic>
        <p:nvPicPr>
          <p:cNvPr id="2050" name="Picture 2" descr="What Is Sharing Risk">
            <a:extLst>
              <a:ext uri="{FF2B5EF4-FFF2-40B4-BE49-F238E27FC236}">
                <a16:creationId xmlns:a16="http://schemas.microsoft.com/office/drawing/2014/main" id="{34633E1F-A94F-2C98-741E-4B900AA3D2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09146" y="1031869"/>
            <a:ext cx="1682602" cy="1648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What Are Technical Skills? - Studytonight">
            <a:extLst>
              <a:ext uri="{FF2B5EF4-FFF2-40B4-BE49-F238E27FC236}">
                <a16:creationId xmlns:a16="http://schemas.microsoft.com/office/drawing/2014/main" id="{47417A55-37BF-301A-C559-8A472658BF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9162" y="3004639"/>
            <a:ext cx="2109775" cy="1460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People climbing up to the success, for the better income, salary, pay raise. Business concept illustration.">
            <a:extLst>
              <a:ext uri="{FF2B5EF4-FFF2-40B4-BE49-F238E27FC236}">
                <a16:creationId xmlns:a16="http://schemas.microsoft.com/office/drawing/2014/main" id="{549C081F-4273-E21F-A396-2550A8239F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891" y="4789760"/>
            <a:ext cx="1857520" cy="14268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135361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A27785-66F3-B473-C6C1-4AD05D4152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Cubed role impact to industry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49ABB80-9FE7-FFD3-2488-5C5274FD6B97}"/>
              </a:ext>
            </a:extLst>
          </p:cNvPr>
          <p:cNvSpPr txBox="1"/>
          <p:nvPr/>
        </p:nvSpPr>
        <p:spPr>
          <a:xfrm>
            <a:off x="3212442" y="2929370"/>
            <a:ext cx="6408217" cy="368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0" hangingPunct="0"/>
            <a:r>
              <a:rPr lang="en-GB" sz="1795" dirty="0">
                <a:solidFill>
                  <a:srgbClr val="000000"/>
                </a:solidFill>
                <a:latin typeface="Times New Roman" panose="02020603050405020304" pitchFamily="18" charset="0"/>
                <a:ea typeface="MS PGothic" charset="-128"/>
              </a:rPr>
              <a:t> </a:t>
            </a:r>
            <a:endParaRPr lang="en-GB" sz="1795" dirty="0">
              <a:solidFill>
                <a:srgbClr val="003249"/>
              </a:solidFill>
              <a:latin typeface="Verdana" charset="0"/>
              <a:ea typeface="MS PGothic" charset="-128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674D5F9-6A87-9F31-23DE-F0138A095554}"/>
              </a:ext>
            </a:extLst>
          </p:cNvPr>
          <p:cNvGrpSpPr/>
          <p:nvPr/>
        </p:nvGrpSpPr>
        <p:grpSpPr>
          <a:xfrm>
            <a:off x="9362488" y="3475354"/>
            <a:ext cx="2446495" cy="2812066"/>
            <a:chOff x="6264082" y="44319"/>
            <a:chExt cx="4262714" cy="489966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6" name="Hexagon 5">
              <a:extLst>
                <a:ext uri="{FF2B5EF4-FFF2-40B4-BE49-F238E27FC236}">
                  <a16:creationId xmlns:a16="http://schemas.microsoft.com/office/drawing/2014/main" id="{81F9198E-ABCF-A7B3-04B9-08139EFF07B8}"/>
                </a:ext>
              </a:extLst>
            </p:cNvPr>
            <p:cNvSpPr/>
            <p:nvPr/>
          </p:nvSpPr>
          <p:spPr>
            <a:xfrm rot="5400000">
              <a:off x="5945605" y="362798"/>
              <a:ext cx="4899669" cy="4262712"/>
            </a:xfrm>
            <a:prstGeom prst="hexagon">
              <a:avLst>
                <a:gd name="adj" fmla="val 25000"/>
                <a:gd name="vf" fmla="val 115470"/>
              </a:avLst>
            </a:prstGeom>
            <a:gradFill flip="none" rotWithShape="0">
              <a:gsLst>
                <a:gs pos="0">
                  <a:srgbClr val="00B0F0"/>
                </a:gs>
                <a:gs pos="100000">
                  <a:srgbClr val="00AE9D">
                    <a:tint val="44500"/>
                    <a:satMod val="160000"/>
                  </a:srgbClr>
                </a:gs>
                <a:gs pos="100000">
                  <a:srgbClr val="00AE9D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 w="38100">
              <a:solidFill>
                <a:srgbClr val="335E6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7" name="Hexagon 4">
              <a:extLst>
                <a:ext uri="{FF2B5EF4-FFF2-40B4-BE49-F238E27FC236}">
                  <a16:creationId xmlns:a16="http://schemas.microsoft.com/office/drawing/2014/main" id="{214674B7-8B93-8682-7046-9CF153C0C8CC}"/>
                </a:ext>
              </a:extLst>
            </p:cNvPr>
            <p:cNvSpPr txBox="1"/>
            <p:nvPr/>
          </p:nvSpPr>
          <p:spPr>
            <a:xfrm>
              <a:off x="6264082" y="807852"/>
              <a:ext cx="4262714" cy="337260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algn="ctr" defTabSz="1329867" eaLnBrk="0" hangingPunct="0"/>
              <a:r>
                <a:rPr lang="en-GB" sz="4787" b="1" dirty="0">
                  <a:solidFill>
                    <a:srgbClr val="335E6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Gill Sans Light" panose="020B0302020104020203" pitchFamily="34" charset="-79"/>
                  <a:cs typeface="Gill Sans Light" panose="020B0302020104020203" pitchFamily="34" charset="-79"/>
                </a:rPr>
                <a:t>124</a:t>
              </a:r>
              <a:r>
                <a:rPr lang="en-GB" sz="2992" b="1" dirty="0">
                  <a:solidFill>
                    <a:srgbClr val="335E6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Gill Sans Light" panose="020B0302020104020203" pitchFamily="34" charset="-79"/>
                  <a:cs typeface="Gill Sans Light" panose="020B0302020104020203" pitchFamily="34" charset="-79"/>
                </a:rPr>
                <a:t> </a:t>
              </a:r>
            </a:p>
            <a:p>
              <a:pPr algn="ctr" defTabSz="1329867" eaLnBrk="0" hangingPunct="0"/>
              <a:r>
                <a:rPr lang="en-US" sz="1396" b="1" dirty="0">
                  <a:solidFill>
                    <a:srgbClr val="335E6F"/>
                  </a:solidFill>
                  <a:latin typeface="Gill Sans Light" panose="020B0302020104020203" pitchFamily="34" charset="-79"/>
                  <a:cs typeface="Gill Sans Light" panose="020B0302020104020203" pitchFamily="34" charset="-79"/>
                </a:rPr>
                <a:t>@64% co-funding rate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3904507F-2F5A-88ED-D969-0171B238814F}"/>
              </a:ext>
            </a:extLst>
          </p:cNvPr>
          <p:cNvGrpSpPr/>
          <p:nvPr/>
        </p:nvGrpSpPr>
        <p:grpSpPr>
          <a:xfrm>
            <a:off x="8139239" y="1176854"/>
            <a:ext cx="2446495" cy="2812066"/>
            <a:chOff x="15439405" y="-1"/>
            <a:chExt cx="4262714" cy="489966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9" name="Hexagon 8">
              <a:extLst>
                <a:ext uri="{FF2B5EF4-FFF2-40B4-BE49-F238E27FC236}">
                  <a16:creationId xmlns:a16="http://schemas.microsoft.com/office/drawing/2014/main" id="{E4494DD2-6C64-83CE-304D-06929545B1BA}"/>
                </a:ext>
              </a:extLst>
            </p:cNvPr>
            <p:cNvSpPr/>
            <p:nvPr/>
          </p:nvSpPr>
          <p:spPr>
            <a:xfrm rot="5400000">
              <a:off x="15120928" y="318478"/>
              <a:ext cx="4899669" cy="4262712"/>
            </a:xfrm>
            <a:prstGeom prst="hexagon">
              <a:avLst>
                <a:gd name="adj" fmla="val 25000"/>
                <a:gd name="vf" fmla="val 115470"/>
              </a:avLst>
            </a:prstGeom>
            <a:gradFill flip="none" rotWithShape="0">
              <a:gsLst>
                <a:gs pos="0">
                  <a:schemeClr val="tx1">
                    <a:lumMod val="50000"/>
                    <a:lumOff val="50000"/>
                  </a:schemeClr>
                </a:gs>
                <a:gs pos="100000">
                  <a:srgbClr val="00AE9D">
                    <a:tint val="44500"/>
                    <a:satMod val="160000"/>
                  </a:srgbClr>
                </a:gs>
                <a:gs pos="100000">
                  <a:srgbClr val="00AE9D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 w="38100">
              <a:solidFill>
                <a:srgbClr val="335E6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dirty="0"/>
            </a:p>
          </p:txBody>
        </p:sp>
        <p:sp>
          <p:nvSpPr>
            <p:cNvPr id="10" name="Hexagon 4">
              <a:extLst>
                <a:ext uri="{FF2B5EF4-FFF2-40B4-BE49-F238E27FC236}">
                  <a16:creationId xmlns:a16="http://schemas.microsoft.com/office/drawing/2014/main" id="{E35D66C8-C6C4-C37A-EA84-8AAAAE2785B0}"/>
                </a:ext>
              </a:extLst>
            </p:cNvPr>
            <p:cNvSpPr txBox="1"/>
            <p:nvPr/>
          </p:nvSpPr>
          <p:spPr>
            <a:xfrm>
              <a:off x="15439405" y="763532"/>
              <a:ext cx="4262714" cy="337260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13988" tIns="113988" rIns="113988" bIns="113988" numCol="1" spcCol="1270" anchor="ctr" anchorCtr="0">
              <a:noAutofit/>
            </a:bodyPr>
            <a:lstStyle/>
            <a:p>
              <a:pPr algn="ctr" defTabSz="1329867" eaLnBrk="0" hangingPunct="0"/>
              <a:r>
                <a:rPr lang="en-GB" sz="4787" b="1" dirty="0">
                  <a:solidFill>
                    <a:srgbClr val="335E6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Gill Sans Light" panose="020B0302020104020203" pitchFamily="34" charset="-79"/>
                  <a:cs typeface="Gill Sans Light" panose="020B0302020104020203" pitchFamily="34" charset="-79"/>
                </a:rPr>
                <a:t>€182M </a:t>
              </a:r>
            </a:p>
            <a:p>
              <a:pPr algn="ctr" defTabSz="1329867" eaLnBrk="0" hangingPunct="0"/>
              <a:r>
                <a:rPr lang="en-GB" sz="1396" b="1" dirty="0">
                  <a:solidFill>
                    <a:srgbClr val="335E6F"/>
                  </a:solidFill>
                  <a:latin typeface="Gill Sans Light" panose="020B0302020104020203" pitchFamily="34" charset="-79"/>
                  <a:cs typeface="Gill Sans Light" panose="020B0302020104020203" pitchFamily="34" charset="-79"/>
                </a:rPr>
                <a:t>InCubed fund size</a:t>
              </a:r>
              <a:endParaRPr lang="en-US" sz="1396" b="1" dirty="0">
                <a:solidFill>
                  <a:srgbClr val="FEFFFF"/>
                </a:solidFill>
                <a:latin typeface="Gill Sans Light" panose="020B0302020104020203" pitchFamily="34" charset="-79"/>
                <a:cs typeface="Gill Sans Light" panose="020B0302020104020203" pitchFamily="34" charset="-79"/>
              </a:endParaRPr>
            </a:p>
          </p:txBody>
        </p:sp>
      </p:grp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3E2900E2-92B9-165B-A192-F0E54B27BAB2}"/>
              </a:ext>
            </a:extLst>
          </p:cNvPr>
          <p:cNvSpPr txBox="1">
            <a:spLocks/>
          </p:cNvSpPr>
          <p:nvPr/>
        </p:nvSpPr>
        <p:spPr>
          <a:xfrm>
            <a:off x="221139" y="929592"/>
            <a:ext cx="7663243" cy="55102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rtl="0" eaLnBrk="0" fontAlgn="base" hangingPunct="0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rgbClr val="8197A6"/>
              </a:buClr>
              <a:buFont typeface="Arial" panose="020B0604020202020204" pitchFamily="34" charset="0"/>
              <a:buNone/>
              <a:defRPr lang="en-US" altLang="en-US" sz="1795" dirty="0">
                <a:solidFill>
                  <a:srgbClr val="8197A6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defRPr>
            </a:lvl1pPr>
            <a:lvl2pPr marL="779216" indent="0" algn="l" rtl="0" eaLnBrk="0" fontAlgn="base" hangingPunct="0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None/>
              <a:defRPr lang="en-US" altLang="en-US" sz="1795" dirty="0">
                <a:solidFill>
                  <a:srgbClr val="8197A6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defRPr>
            </a:lvl2pPr>
            <a:lvl3pPr marL="1354105" indent="0" algn="l" rtl="0" eaLnBrk="0" fontAlgn="base" hangingPunct="0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None/>
              <a:defRPr lang="en-US" altLang="en-US" sz="1795" dirty="0">
                <a:solidFill>
                  <a:srgbClr val="8197A6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defRPr>
            </a:lvl3pPr>
            <a:lvl4pPr marL="1928994" indent="0" algn="l" rtl="0" eaLnBrk="0" fontAlgn="base" hangingPunct="0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None/>
              <a:defRPr lang="en-US" altLang="en-US" sz="1795" dirty="0">
                <a:solidFill>
                  <a:srgbClr val="8197A6"/>
                </a:solidFill>
                <a:latin typeface="Arial" charset="0"/>
                <a:ea typeface="MS PGothic" pitchFamily="34" charset="-128"/>
                <a:cs typeface="Arial" charset="0"/>
              </a:defRPr>
            </a:lvl4pPr>
            <a:lvl5pPr marL="2503882" indent="0" algn="l" rtl="0" eaLnBrk="0" fontAlgn="base" hangingPunct="0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None/>
              <a:defRPr lang="en-GB" altLang="en-US" sz="1795" dirty="0">
                <a:solidFill>
                  <a:srgbClr val="8197A6"/>
                </a:solidFill>
                <a:latin typeface="Arial" charset="0"/>
                <a:ea typeface="MS PGothic" pitchFamily="34" charset="-128"/>
                <a:cs typeface="Arial" charset="0"/>
              </a:defRPr>
            </a:lvl5pPr>
            <a:lvl6pPr marL="3347552" indent="-403172" algn="l" rtl="0" fontAlgn="base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539">
                <a:solidFill>
                  <a:schemeClr val="bg2"/>
                </a:solidFill>
                <a:latin typeface="+mn-lt"/>
              </a:defRPr>
            </a:lvl6pPr>
            <a:lvl7pPr marL="3787376" indent="-403172" algn="l" rtl="0" fontAlgn="base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539">
                <a:solidFill>
                  <a:schemeClr val="bg2"/>
                </a:solidFill>
                <a:latin typeface="+mn-lt"/>
              </a:defRPr>
            </a:lvl7pPr>
            <a:lvl8pPr marL="4227201" indent="-403172" algn="l" rtl="0" fontAlgn="base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539">
                <a:solidFill>
                  <a:schemeClr val="bg2"/>
                </a:solidFill>
                <a:latin typeface="+mn-lt"/>
              </a:defRPr>
            </a:lvl8pPr>
            <a:lvl9pPr marL="4667025" indent="-403172" algn="l" rtl="0" fontAlgn="base">
              <a:lnSpc>
                <a:spcPct val="119000"/>
              </a:lnSpc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–"/>
              <a:defRPr sz="1539">
                <a:solidFill>
                  <a:schemeClr val="bg2"/>
                </a:solidFill>
                <a:latin typeface="+mn-lt"/>
              </a:defRPr>
            </a:lvl9pPr>
          </a:lstStyle>
          <a:p>
            <a:r>
              <a:rPr lang="en-GB" sz="2400" kern="0" dirty="0">
                <a:solidFill>
                  <a:schemeClr val="tx1"/>
                </a:solidFill>
              </a:rPr>
              <a:t>InCubed is more and more seen as a key tool for company innovation, for:</a:t>
            </a:r>
          </a:p>
          <a:p>
            <a:pPr lvl="1"/>
            <a:r>
              <a:rPr lang="en-GB" sz="2400" b="1" kern="0" dirty="0">
                <a:solidFill>
                  <a:schemeClr val="tx1"/>
                </a:solidFill>
              </a:rPr>
              <a:t>Established companies </a:t>
            </a:r>
            <a:r>
              <a:rPr lang="en-GB" sz="2400" kern="0" dirty="0">
                <a:solidFill>
                  <a:schemeClr val="tx1"/>
                </a:solidFill>
              </a:rPr>
              <a:t>(i.e. LSI and SMEs) to innovate their portfolio with highly competitive product/services</a:t>
            </a:r>
          </a:p>
          <a:p>
            <a:pPr lvl="1"/>
            <a:r>
              <a:rPr lang="en-GB" sz="2400" b="1" kern="0" dirty="0">
                <a:solidFill>
                  <a:schemeClr val="tx1"/>
                </a:solidFill>
              </a:rPr>
              <a:t>For start-ups </a:t>
            </a:r>
            <a:r>
              <a:rPr lang="en-GB" sz="2400" kern="0" dirty="0">
                <a:solidFill>
                  <a:schemeClr val="tx1"/>
                </a:solidFill>
              </a:rPr>
              <a:t>and </a:t>
            </a:r>
            <a:r>
              <a:rPr lang="en-GB" sz="2400" b="1" kern="0" dirty="0">
                <a:solidFill>
                  <a:schemeClr val="tx1"/>
                </a:solidFill>
              </a:rPr>
              <a:t>New Space </a:t>
            </a:r>
            <a:r>
              <a:rPr lang="en-GB" sz="2400" kern="0" dirty="0">
                <a:solidFill>
                  <a:schemeClr val="tx1"/>
                </a:solidFill>
              </a:rPr>
              <a:t>companies, to establish their business taking advantage from the strong ESA </a:t>
            </a:r>
          </a:p>
          <a:p>
            <a:r>
              <a:rPr lang="en-GB" sz="2400" kern="0" dirty="0">
                <a:solidFill>
                  <a:schemeClr val="tx1"/>
                </a:solidFill>
              </a:rPr>
              <a:t>Significant commercial results of supported companies:</a:t>
            </a:r>
          </a:p>
          <a:p>
            <a:pPr marL="1236416" lvl="1" indent="-457200">
              <a:buFont typeface="+mj-lt"/>
              <a:buAutoNum type="arabicPeriod"/>
            </a:pPr>
            <a:r>
              <a:rPr lang="en-GB" sz="2400" kern="0" dirty="0">
                <a:solidFill>
                  <a:schemeClr val="tx1"/>
                </a:solidFill>
              </a:rPr>
              <a:t>Major commercial contracts </a:t>
            </a:r>
          </a:p>
          <a:p>
            <a:pPr marL="1236416" lvl="1" indent="-457200">
              <a:buFont typeface="+mj-lt"/>
              <a:buAutoNum type="arabicPeriod"/>
            </a:pPr>
            <a:r>
              <a:rPr lang="en-GB" sz="2400" kern="0" dirty="0">
                <a:solidFill>
                  <a:schemeClr val="tx1"/>
                </a:solidFill>
              </a:rPr>
              <a:t>Follow-up private investments</a:t>
            </a:r>
          </a:p>
          <a:p>
            <a:pPr lvl="1"/>
            <a:endParaRPr lang="en-GB" kern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76781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8DB714-8AD5-DC88-734D-5F7437691C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ubed Domains</a:t>
            </a:r>
            <a:endParaRPr lang="en-GB" dirty="0"/>
          </a:p>
        </p:txBody>
      </p:sp>
      <p:pic>
        <p:nvPicPr>
          <p:cNvPr id="5" name="Picture 4" descr="A blue and green gears&#10;&#10;Description automatically generated">
            <a:extLst>
              <a:ext uri="{FF2B5EF4-FFF2-40B4-BE49-F238E27FC236}">
                <a16:creationId xmlns:a16="http://schemas.microsoft.com/office/drawing/2014/main" id="{5C2AB180-F0DD-825F-ED63-5D68F9C4E0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28264" y="1737637"/>
            <a:ext cx="1690164" cy="1690164"/>
          </a:xfrm>
          <a:prstGeom prst="rect">
            <a:avLst/>
          </a:prstGeom>
        </p:spPr>
      </p:pic>
      <p:pic>
        <p:nvPicPr>
          <p:cNvPr id="7" name="Picture 6" descr="A blue and green satellite dish&#10;&#10;Description automatically generated">
            <a:extLst>
              <a:ext uri="{FF2B5EF4-FFF2-40B4-BE49-F238E27FC236}">
                <a16:creationId xmlns:a16="http://schemas.microsoft.com/office/drawing/2014/main" id="{7DF208A1-B32E-792E-33E0-153BBE2498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57557" y="4061442"/>
            <a:ext cx="1690164" cy="1690164"/>
          </a:xfrm>
          <a:prstGeom prst="rect">
            <a:avLst/>
          </a:prstGeom>
        </p:spPr>
      </p:pic>
      <p:pic>
        <p:nvPicPr>
          <p:cNvPr id="9" name="Picture 8" descr="A blue and green line drawing of a stack of circles&#10;&#10;Description automatically generated">
            <a:extLst>
              <a:ext uri="{FF2B5EF4-FFF2-40B4-BE49-F238E27FC236}">
                <a16:creationId xmlns:a16="http://schemas.microsoft.com/office/drawing/2014/main" id="{935041DE-4305-522E-95AF-92EE5680017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27517" y="1675590"/>
            <a:ext cx="1690164" cy="1690164"/>
          </a:xfrm>
          <a:prstGeom prst="rect">
            <a:avLst/>
          </a:prstGeom>
        </p:spPr>
      </p:pic>
      <p:pic>
        <p:nvPicPr>
          <p:cNvPr id="11" name="Picture 10" descr="A computer with a pie chart&#10;&#10;Description automatically generated">
            <a:extLst>
              <a:ext uri="{FF2B5EF4-FFF2-40B4-BE49-F238E27FC236}">
                <a16:creationId xmlns:a16="http://schemas.microsoft.com/office/drawing/2014/main" id="{EDE95D96-47D0-ADCF-35D5-52F66D4E9D9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42080" y="4146370"/>
            <a:ext cx="1690164" cy="1690164"/>
          </a:xfrm>
          <a:prstGeom prst="rect">
            <a:avLst/>
          </a:prstGeom>
        </p:spPr>
      </p:pic>
      <p:pic>
        <p:nvPicPr>
          <p:cNvPr id="13" name="Picture 12" descr="A camera with a black background&#10;&#10;Description automatically generated">
            <a:extLst>
              <a:ext uri="{FF2B5EF4-FFF2-40B4-BE49-F238E27FC236}">
                <a16:creationId xmlns:a16="http://schemas.microsoft.com/office/drawing/2014/main" id="{D9DE169C-6F2A-B5BF-1B26-3A8EB72BCAD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5564" y="4062641"/>
            <a:ext cx="1690164" cy="1690164"/>
          </a:xfrm>
          <a:prstGeom prst="rect">
            <a:avLst/>
          </a:prstGeom>
        </p:spPr>
      </p:pic>
      <p:pic>
        <p:nvPicPr>
          <p:cNvPr id="15" name="Picture 14" descr="A satellite with a black background&#10;&#10;Description automatically generated">
            <a:extLst>
              <a:ext uri="{FF2B5EF4-FFF2-40B4-BE49-F238E27FC236}">
                <a16:creationId xmlns:a16="http://schemas.microsoft.com/office/drawing/2014/main" id="{FA790F22-E230-534E-9A9B-BFBF065A5A8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9855" y="1737637"/>
            <a:ext cx="1690164" cy="1690164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39EA5DE-C4C3-16BF-8C80-F45B39713F16}"/>
              </a:ext>
            </a:extLst>
          </p:cNvPr>
          <p:cNvCxnSpPr/>
          <p:nvPr/>
        </p:nvCxnSpPr>
        <p:spPr>
          <a:xfrm>
            <a:off x="3356733" y="1232965"/>
            <a:ext cx="64893" cy="4890565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AB8A0D58-E537-0888-01E8-C419D22672FC}"/>
              </a:ext>
            </a:extLst>
          </p:cNvPr>
          <p:cNvCxnSpPr/>
          <p:nvPr/>
        </p:nvCxnSpPr>
        <p:spPr>
          <a:xfrm>
            <a:off x="7682483" y="1232964"/>
            <a:ext cx="64893" cy="4890565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87649C6-6CDE-D610-4433-35C84827DC95}"/>
              </a:ext>
            </a:extLst>
          </p:cNvPr>
          <p:cNvSpPr txBox="1"/>
          <p:nvPr/>
        </p:nvSpPr>
        <p:spPr>
          <a:xfrm>
            <a:off x="468956" y="1056323"/>
            <a:ext cx="234942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2800" dirty="0">
                <a:solidFill>
                  <a:schemeClr val="accent1"/>
                </a:solidFill>
                <a:latin typeface="NotesEsa" panose="02000506030000020004" pitchFamily="2" charset="0"/>
                <a:ea typeface="MS PGothic" pitchFamily="34" charset="-128"/>
                <a:cs typeface="Arial" panose="020B0604020202020204" pitchFamily="34" charset="0"/>
              </a:rPr>
              <a:t>Space segmen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7D1FBC8-D2E2-6E3E-B521-957817FC49B0}"/>
              </a:ext>
            </a:extLst>
          </p:cNvPr>
          <p:cNvSpPr txBox="1"/>
          <p:nvPr/>
        </p:nvSpPr>
        <p:spPr>
          <a:xfrm>
            <a:off x="4449918" y="1056322"/>
            <a:ext cx="254858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2800" dirty="0">
                <a:solidFill>
                  <a:schemeClr val="accent1"/>
                </a:solidFill>
                <a:latin typeface="NotesEsa" panose="02000506030000020004" pitchFamily="2" charset="0"/>
                <a:ea typeface="MS PGothic" pitchFamily="34" charset="-128"/>
                <a:cs typeface="Arial" panose="020B0604020202020204" pitchFamily="34" charset="0"/>
              </a:rPr>
              <a:t>Ground segmen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284C5F1-52E4-FB13-A669-EBFDF2A3C98D}"/>
              </a:ext>
            </a:extLst>
          </p:cNvPr>
          <p:cNvSpPr txBox="1"/>
          <p:nvPr/>
        </p:nvSpPr>
        <p:spPr>
          <a:xfrm>
            <a:off x="8681092" y="1056322"/>
            <a:ext cx="218450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2800" dirty="0">
                <a:solidFill>
                  <a:schemeClr val="accent1"/>
                </a:solidFill>
                <a:latin typeface="NotesEsa" panose="02000506030000020004" pitchFamily="2" charset="0"/>
                <a:ea typeface="MS PGothic" pitchFamily="34" charset="-128"/>
                <a:cs typeface="Arial" panose="020B0604020202020204" pitchFamily="34" charset="0"/>
              </a:rPr>
              <a:t>Data segmen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440CD49-27B7-71A6-F75E-62AA73617040}"/>
              </a:ext>
            </a:extLst>
          </p:cNvPr>
          <p:cNvSpPr txBox="1"/>
          <p:nvPr/>
        </p:nvSpPr>
        <p:spPr>
          <a:xfrm>
            <a:off x="953235" y="3515967"/>
            <a:ext cx="9634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dirty="0">
                <a:latin typeface="NotesEsa" panose="02000506030000020004" pitchFamily="2" charset="0"/>
                <a:ea typeface="MS PGothic" pitchFamily="34" charset="-128"/>
                <a:cs typeface="Arial" panose="020B0604020202020204" pitchFamily="34" charset="0"/>
              </a:rPr>
              <a:t>Platform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B69F27F-0AB1-3A06-14D5-4C247C996E7C}"/>
              </a:ext>
            </a:extLst>
          </p:cNvPr>
          <p:cNvSpPr txBox="1"/>
          <p:nvPr/>
        </p:nvSpPr>
        <p:spPr>
          <a:xfrm>
            <a:off x="989911" y="5747430"/>
            <a:ext cx="8900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dirty="0">
                <a:latin typeface="NotesEsa" panose="02000506030000020004" pitchFamily="2" charset="0"/>
                <a:ea typeface="MS PGothic" pitchFamily="34" charset="-128"/>
                <a:cs typeface="Arial" panose="020B0604020202020204" pitchFamily="34" charset="0"/>
              </a:rPr>
              <a:t>Payload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492616E-9631-12B4-87C1-6971946749A7}"/>
              </a:ext>
            </a:extLst>
          </p:cNvPr>
          <p:cNvSpPr txBox="1"/>
          <p:nvPr/>
        </p:nvSpPr>
        <p:spPr>
          <a:xfrm>
            <a:off x="4509518" y="5660780"/>
            <a:ext cx="220637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>
                <a:latin typeface="NotesEsa" panose="02000506030000020004" pitchFamily="2" charset="0"/>
                <a:ea typeface="MS PGothic" pitchFamily="34" charset="-128"/>
                <a:cs typeface="Arial" panose="020B0604020202020204" pitchFamily="34" charset="0"/>
              </a:rPr>
              <a:t>Ground Stations &amp;</a:t>
            </a:r>
            <a:br>
              <a:rPr lang="en-GB" dirty="0">
                <a:latin typeface="NotesEsa" panose="02000506030000020004" pitchFamily="2" charset="0"/>
                <a:ea typeface="MS PGothic" pitchFamily="34" charset="-128"/>
                <a:cs typeface="Arial" panose="020B0604020202020204" pitchFamily="34" charset="0"/>
              </a:rPr>
            </a:br>
            <a:r>
              <a:rPr lang="en-GB" dirty="0">
                <a:latin typeface="NotesEsa" panose="02000506030000020004" pitchFamily="2" charset="0"/>
                <a:ea typeface="MS PGothic" pitchFamily="34" charset="-128"/>
                <a:cs typeface="Arial" panose="020B0604020202020204" pitchFamily="34" charset="0"/>
              </a:rPr>
              <a:t>Mission Managemen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4E58149-FA01-EDE6-4186-9A6455A4AEE2}"/>
              </a:ext>
            </a:extLst>
          </p:cNvPr>
          <p:cNvSpPr txBox="1"/>
          <p:nvPr/>
        </p:nvSpPr>
        <p:spPr>
          <a:xfrm>
            <a:off x="4668719" y="3427801"/>
            <a:ext cx="198971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>
                <a:latin typeface="NotesEsa" panose="02000506030000020004" pitchFamily="2" charset="0"/>
                <a:ea typeface="MS PGothic" pitchFamily="34" charset="-128"/>
                <a:cs typeface="Arial" panose="020B0604020202020204" pitchFamily="34" charset="0"/>
              </a:rPr>
              <a:t>Ground Networks &amp;</a:t>
            </a:r>
            <a:br>
              <a:rPr lang="en-GB" dirty="0">
                <a:latin typeface="NotesEsa" panose="02000506030000020004" pitchFamily="2" charset="0"/>
                <a:ea typeface="MS PGothic" pitchFamily="34" charset="-128"/>
                <a:cs typeface="Arial" panose="020B0604020202020204" pitchFamily="34" charset="0"/>
              </a:rPr>
            </a:br>
            <a:r>
              <a:rPr lang="en-GB" dirty="0">
                <a:latin typeface="NotesEsa" panose="02000506030000020004" pitchFamily="2" charset="0"/>
                <a:ea typeface="MS PGothic" pitchFamily="34" charset="-128"/>
                <a:cs typeface="Arial" panose="020B0604020202020204" pitchFamily="34" charset="0"/>
              </a:rPr>
              <a:t>Data Distributio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E793BF5-1733-75A4-1568-3ACD502FD6B6}"/>
              </a:ext>
            </a:extLst>
          </p:cNvPr>
          <p:cNvSpPr txBox="1"/>
          <p:nvPr/>
        </p:nvSpPr>
        <p:spPr>
          <a:xfrm>
            <a:off x="8431358" y="3427801"/>
            <a:ext cx="258474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>
                <a:latin typeface="NotesEsa" panose="02000506030000020004" pitchFamily="2" charset="0"/>
                <a:ea typeface="MS PGothic" pitchFamily="34" charset="-128"/>
                <a:cs typeface="Arial" panose="020B0604020202020204" pitchFamily="34" charset="0"/>
              </a:rPr>
              <a:t>Data Analytics, Insights &amp;</a:t>
            </a:r>
            <a:br>
              <a:rPr lang="en-GB" dirty="0">
                <a:latin typeface="NotesEsa" panose="02000506030000020004" pitchFamily="2" charset="0"/>
                <a:ea typeface="MS PGothic" pitchFamily="34" charset="-128"/>
                <a:cs typeface="Arial" panose="020B0604020202020204" pitchFamily="34" charset="0"/>
              </a:rPr>
            </a:br>
            <a:r>
              <a:rPr lang="en-GB" dirty="0">
                <a:latin typeface="NotesEsa" panose="02000506030000020004" pitchFamily="2" charset="0"/>
                <a:ea typeface="MS PGothic" pitchFamily="34" charset="-128"/>
                <a:cs typeface="Arial" panose="020B0604020202020204" pitchFamily="34" charset="0"/>
              </a:rPr>
              <a:t>Application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B7CA0E2-1BC4-D404-2F92-E7988B4080B6}"/>
              </a:ext>
            </a:extLst>
          </p:cNvPr>
          <p:cNvSpPr txBox="1"/>
          <p:nvPr/>
        </p:nvSpPr>
        <p:spPr>
          <a:xfrm>
            <a:off x="8928264" y="5660780"/>
            <a:ext cx="18634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>
                <a:latin typeface="NotesEsa" panose="02000506030000020004" pitchFamily="2" charset="0"/>
                <a:ea typeface="MS PGothic" pitchFamily="34" charset="-128"/>
                <a:cs typeface="Arial" panose="020B0604020202020204" pitchFamily="34" charset="0"/>
              </a:rPr>
              <a:t>Data Processing &amp;</a:t>
            </a:r>
          </a:p>
          <a:p>
            <a:pPr algn="ctr"/>
            <a:r>
              <a:rPr lang="en-GB" dirty="0">
                <a:latin typeface="NotesEsa" panose="02000506030000020004" pitchFamily="2" charset="0"/>
                <a:ea typeface="MS PGothic" pitchFamily="34" charset="-128"/>
                <a:cs typeface="Arial" panose="020B0604020202020204" pitchFamily="34" charset="0"/>
              </a:rPr>
              <a:t>Visualization</a:t>
            </a:r>
          </a:p>
        </p:txBody>
      </p:sp>
    </p:spTree>
    <p:extLst>
      <p:ext uri="{BB962C8B-B14F-4D97-AF65-F5344CB8AC3E}">
        <p14:creationId xmlns:p14="http://schemas.microsoft.com/office/powerpoint/2010/main" val="8325257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62C3AE-C1A5-2D96-9810-3E047C63E8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upported InCubed Downstream Companies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368C72CE-E840-EBC8-A5BD-2FF9E65537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813" y="1118936"/>
            <a:ext cx="1048924" cy="312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0D7F4249-AD08-11B3-5DEA-D9F078BB37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1138" y="1169676"/>
            <a:ext cx="1670087" cy="261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0E983EFC-B14C-1161-694B-0FBEFB9F24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5264" y="1107970"/>
            <a:ext cx="2586278" cy="323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>
            <a:extLst>
              <a:ext uri="{FF2B5EF4-FFF2-40B4-BE49-F238E27FC236}">
                <a16:creationId xmlns:a16="http://schemas.microsoft.com/office/drawing/2014/main" id="{ABB981E2-BB1D-7570-4568-D562A69C8E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411" y="1614113"/>
            <a:ext cx="1048924" cy="4321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75F6912-9084-0E78-5C28-8BCC6E25879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23347" y="2136634"/>
            <a:ext cx="1524000" cy="4572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6011C68-76F7-CB98-DF60-B2FA655F57C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38511" y="1059781"/>
            <a:ext cx="1865647" cy="101424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3896AE6-7AF3-F871-0A4E-BB556E6ECE4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90863" y="1653978"/>
            <a:ext cx="1524000" cy="35242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DA5A57F-D58B-0236-A513-25F01394274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256028" y="1472763"/>
            <a:ext cx="1086071" cy="590551"/>
          </a:xfrm>
          <a:prstGeom prst="rect">
            <a:avLst/>
          </a:prstGeom>
        </p:spPr>
      </p:pic>
      <p:pic>
        <p:nvPicPr>
          <p:cNvPr id="1036" name="Picture 12">
            <a:extLst>
              <a:ext uri="{FF2B5EF4-FFF2-40B4-BE49-F238E27FC236}">
                <a16:creationId xmlns:a16="http://schemas.microsoft.com/office/drawing/2014/main" id="{0C09807A-686B-E16B-7D87-19C15A6ADD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2638" y="1687311"/>
            <a:ext cx="1524000" cy="717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E752176-8AD9-C447-CB14-D0AE8A8F60B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667000" y="2262458"/>
            <a:ext cx="1670087" cy="74288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9880C0C-4D6A-63E9-AFBF-AAC660674AC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49981" y="2365234"/>
            <a:ext cx="806759" cy="37404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68F4FFA-C173-600C-25DA-89F4FDD1AE9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481138" y="2739277"/>
            <a:ext cx="1180097" cy="43270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104FF50-E22D-00BD-C4B8-1D8D873A477B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78218" y="3339737"/>
            <a:ext cx="1610205" cy="895330"/>
          </a:xfrm>
          <a:prstGeom prst="rect">
            <a:avLst/>
          </a:prstGeom>
        </p:spPr>
      </p:pic>
      <p:pic>
        <p:nvPicPr>
          <p:cNvPr id="1038" name="Picture 14">
            <a:extLst>
              <a:ext uri="{FF2B5EF4-FFF2-40B4-BE49-F238E27FC236}">
                <a16:creationId xmlns:a16="http://schemas.microsoft.com/office/drawing/2014/main" id="{F6AF9029-EEC4-7AEF-74BA-51512AB867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1542" y="2276679"/>
            <a:ext cx="1065028" cy="551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>
            <a:extLst>
              <a:ext uri="{FF2B5EF4-FFF2-40B4-BE49-F238E27FC236}">
                <a16:creationId xmlns:a16="http://schemas.microsoft.com/office/drawing/2014/main" id="{A013130F-99F6-C064-86EA-0369D7F521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0465" y="1101090"/>
            <a:ext cx="552887" cy="552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>
            <a:extLst>
              <a:ext uri="{FF2B5EF4-FFF2-40B4-BE49-F238E27FC236}">
                <a16:creationId xmlns:a16="http://schemas.microsoft.com/office/drawing/2014/main" id="{3D715B65-BCCF-362F-9BB6-C6845B9DD0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0939" y="2724065"/>
            <a:ext cx="1723506" cy="287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AutoShape 22">
            <a:extLst>
              <a:ext uri="{FF2B5EF4-FFF2-40B4-BE49-F238E27FC236}">
                <a16:creationId xmlns:a16="http://schemas.microsoft.com/office/drawing/2014/main" id="{5914B3A1-C3DD-C338-0159-A7639220EA2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052" name="Picture 28">
            <a:extLst>
              <a:ext uri="{FF2B5EF4-FFF2-40B4-BE49-F238E27FC236}">
                <a16:creationId xmlns:a16="http://schemas.microsoft.com/office/drawing/2014/main" id="{064979E0-F4CF-537C-0AFD-35371C78C0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6557" y="2986399"/>
            <a:ext cx="1289059" cy="594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4" name="Picture 30">
            <a:extLst>
              <a:ext uri="{FF2B5EF4-FFF2-40B4-BE49-F238E27FC236}">
                <a16:creationId xmlns:a16="http://schemas.microsoft.com/office/drawing/2014/main" id="{C7368C20-37A8-D2BF-24C5-C78544ED60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3667" y="1997479"/>
            <a:ext cx="1178959" cy="751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6" name="Picture 32">
            <a:extLst>
              <a:ext uri="{FF2B5EF4-FFF2-40B4-BE49-F238E27FC236}">
                <a16:creationId xmlns:a16="http://schemas.microsoft.com/office/drawing/2014/main" id="{BB2A9C2D-AF4F-E558-2179-4C9EF1741C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2487" y="1194558"/>
            <a:ext cx="1162343" cy="706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0" name="Picture 36">
            <a:extLst>
              <a:ext uri="{FF2B5EF4-FFF2-40B4-BE49-F238E27FC236}">
                <a16:creationId xmlns:a16="http://schemas.microsoft.com/office/drawing/2014/main" id="{BABCAFF9-48BE-055A-F261-5638B6C409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7034" y="3189685"/>
            <a:ext cx="1338966" cy="742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FA5EF643-749C-57D6-FA23-88F3A80DBAD3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6833753" y="3196938"/>
            <a:ext cx="1295581" cy="952633"/>
          </a:xfrm>
          <a:prstGeom prst="rect">
            <a:avLst/>
          </a:prstGeom>
        </p:spPr>
      </p:pic>
      <p:pic>
        <p:nvPicPr>
          <p:cNvPr id="1062" name="Picture 38">
            <a:extLst>
              <a:ext uri="{FF2B5EF4-FFF2-40B4-BE49-F238E27FC236}">
                <a16:creationId xmlns:a16="http://schemas.microsoft.com/office/drawing/2014/main" id="{BED890BB-BC49-08AB-2F49-CCE5FEEBD7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2039" y="1984360"/>
            <a:ext cx="1404508" cy="588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4" name="Picture 40">
            <a:extLst>
              <a:ext uri="{FF2B5EF4-FFF2-40B4-BE49-F238E27FC236}">
                <a16:creationId xmlns:a16="http://schemas.microsoft.com/office/drawing/2014/main" id="{E966CAB6-555C-5C25-41EB-01FC30BBDC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6322" y="2633899"/>
            <a:ext cx="789339" cy="863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6" name="Picture 42">
            <a:extLst>
              <a:ext uri="{FF2B5EF4-FFF2-40B4-BE49-F238E27FC236}">
                <a16:creationId xmlns:a16="http://schemas.microsoft.com/office/drawing/2014/main" id="{26065E06-B0C9-9241-21F9-C78E06FB21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3236" y="2711321"/>
            <a:ext cx="807118" cy="849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8" name="Picture 44">
            <a:extLst>
              <a:ext uri="{FF2B5EF4-FFF2-40B4-BE49-F238E27FC236}">
                <a16:creationId xmlns:a16="http://schemas.microsoft.com/office/drawing/2014/main" id="{9D4820AC-979B-0FC5-0FFB-8FB09AE0A6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5462" y="3686022"/>
            <a:ext cx="1917401" cy="5592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0" name="Picture 46">
            <a:extLst>
              <a:ext uri="{FF2B5EF4-FFF2-40B4-BE49-F238E27FC236}">
                <a16:creationId xmlns:a16="http://schemas.microsoft.com/office/drawing/2014/main" id="{F76DFE08-D139-3645-6D76-9925DC51A9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8316" y="2838610"/>
            <a:ext cx="999624" cy="889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F5146A4F-6534-DCB7-C7CD-97F200C3A0E5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178218" y="4597711"/>
            <a:ext cx="823496" cy="823496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83012C2D-C61E-B8D8-B763-F96C5D9051AD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618820" y="4188982"/>
            <a:ext cx="912828" cy="408729"/>
          </a:xfrm>
          <a:prstGeom prst="rect">
            <a:avLst/>
          </a:prstGeom>
        </p:spPr>
      </p:pic>
      <p:pic>
        <p:nvPicPr>
          <p:cNvPr id="1076" name="Picture 52">
            <a:extLst>
              <a:ext uri="{FF2B5EF4-FFF2-40B4-BE49-F238E27FC236}">
                <a16:creationId xmlns:a16="http://schemas.microsoft.com/office/drawing/2014/main" id="{D1603971-0180-20FE-1802-3B720A0EA9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7277" y="4149571"/>
            <a:ext cx="823496" cy="8289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8" name="Picture 54">
            <a:extLst>
              <a:ext uri="{FF2B5EF4-FFF2-40B4-BE49-F238E27FC236}">
                <a16:creationId xmlns:a16="http://schemas.microsoft.com/office/drawing/2014/main" id="{1B901670-6B8C-6109-2E61-5CF51C60A0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0876" y="3932567"/>
            <a:ext cx="1524000" cy="203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0" name="Picture 56">
            <a:extLst>
              <a:ext uri="{FF2B5EF4-FFF2-40B4-BE49-F238E27FC236}">
                <a16:creationId xmlns:a16="http://schemas.microsoft.com/office/drawing/2014/main" id="{70461546-036A-C169-7D0B-F281201C54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860" y="4374960"/>
            <a:ext cx="2814203" cy="613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2" name="Picture 58">
            <a:extLst>
              <a:ext uri="{FF2B5EF4-FFF2-40B4-BE49-F238E27FC236}">
                <a16:creationId xmlns:a16="http://schemas.microsoft.com/office/drawing/2014/main" id="{6FDFBD6F-4046-D811-20F3-9D1BDFD0D9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6783" y="5127417"/>
            <a:ext cx="1838882" cy="723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4" name="Picture 60">
            <a:extLst>
              <a:ext uri="{FF2B5EF4-FFF2-40B4-BE49-F238E27FC236}">
                <a16:creationId xmlns:a16="http://schemas.microsoft.com/office/drawing/2014/main" id="{C50CAEC9-182D-5369-052C-A70BDFBE37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861" y="5268496"/>
            <a:ext cx="1116016" cy="5686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6" name="Picture 62">
            <a:extLst>
              <a:ext uri="{FF2B5EF4-FFF2-40B4-BE49-F238E27FC236}">
                <a16:creationId xmlns:a16="http://schemas.microsoft.com/office/drawing/2014/main" id="{85A6EDF4-6A39-B7FA-7E4F-3310118F90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44428" y="1901388"/>
            <a:ext cx="789339" cy="772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8" name="Picture 64">
            <a:extLst>
              <a:ext uri="{FF2B5EF4-FFF2-40B4-BE49-F238E27FC236}">
                <a16:creationId xmlns:a16="http://schemas.microsoft.com/office/drawing/2014/main" id="{7788C996-7C59-4A64-F0EC-058A035914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3236" y="4164884"/>
            <a:ext cx="2513736" cy="456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0" name="Picture 66">
            <a:extLst>
              <a:ext uri="{FF2B5EF4-FFF2-40B4-BE49-F238E27FC236}">
                <a16:creationId xmlns:a16="http://schemas.microsoft.com/office/drawing/2014/main" id="{8CA2854F-B555-685C-FD55-8928664A8F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4858" y="5057421"/>
            <a:ext cx="1524205" cy="579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2" name="Picture 68">
            <a:extLst>
              <a:ext uri="{FF2B5EF4-FFF2-40B4-BE49-F238E27FC236}">
                <a16:creationId xmlns:a16="http://schemas.microsoft.com/office/drawing/2014/main" id="{637D4543-4D51-5910-3470-E2E9C355D9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9211" y="5705894"/>
            <a:ext cx="1524205" cy="559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4" name="Picture 70">
            <a:extLst>
              <a:ext uri="{FF2B5EF4-FFF2-40B4-BE49-F238E27FC236}">
                <a16:creationId xmlns:a16="http://schemas.microsoft.com/office/drawing/2014/main" id="{13A0839E-7DDE-3AA1-8FCC-E1B886D50F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3044" y="4803168"/>
            <a:ext cx="1828800" cy="685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6" name="Picture 72">
            <a:extLst>
              <a:ext uri="{FF2B5EF4-FFF2-40B4-BE49-F238E27FC236}">
                <a16:creationId xmlns:a16="http://schemas.microsoft.com/office/drawing/2014/main" id="{D9E25DBF-161A-7490-0AE6-46D476430E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6304" y="5713560"/>
            <a:ext cx="1290607" cy="406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8" name="Picture 74">
            <a:extLst>
              <a:ext uri="{FF2B5EF4-FFF2-40B4-BE49-F238E27FC236}">
                <a16:creationId xmlns:a16="http://schemas.microsoft.com/office/drawing/2014/main" id="{78FD425E-47C6-9F91-1D39-07EDE7C29F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375" y="5948907"/>
            <a:ext cx="1492677" cy="3892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0" name="Picture 76">
            <a:extLst>
              <a:ext uri="{FF2B5EF4-FFF2-40B4-BE49-F238E27FC236}">
                <a16:creationId xmlns:a16="http://schemas.microsoft.com/office/drawing/2014/main" id="{DE8D7512-BD28-BFA1-A00A-509F39816A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2485" y="5810959"/>
            <a:ext cx="498400" cy="501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2" name="Picture 78">
            <a:extLst>
              <a:ext uri="{FF2B5EF4-FFF2-40B4-BE49-F238E27FC236}">
                <a16:creationId xmlns:a16="http://schemas.microsoft.com/office/drawing/2014/main" id="{F6460252-0A94-6CB7-6519-C03503AA2B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367" y="2938620"/>
            <a:ext cx="1398664" cy="4545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6" name="Picture 82">
            <a:extLst>
              <a:ext uri="{FF2B5EF4-FFF2-40B4-BE49-F238E27FC236}">
                <a16:creationId xmlns:a16="http://schemas.microsoft.com/office/drawing/2014/main" id="{60F41F92-93D2-487D-83D8-A5D61BCCCB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34177" y="3067397"/>
            <a:ext cx="1178959" cy="549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8" name="Picture 84">
            <a:extLst>
              <a:ext uri="{FF2B5EF4-FFF2-40B4-BE49-F238E27FC236}">
                <a16:creationId xmlns:a16="http://schemas.microsoft.com/office/drawing/2014/main" id="{E015E93D-A046-C8C6-FE31-EB44D80C79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7212" y="3760784"/>
            <a:ext cx="754768" cy="750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10" name="Picture 86">
            <a:extLst>
              <a:ext uri="{FF2B5EF4-FFF2-40B4-BE49-F238E27FC236}">
                <a16:creationId xmlns:a16="http://schemas.microsoft.com/office/drawing/2014/main" id="{00CA4F38-2092-AB49-6953-73721951A4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06161" y="3738964"/>
            <a:ext cx="1966402" cy="983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12" name="Picture 88">
            <a:extLst>
              <a:ext uri="{FF2B5EF4-FFF2-40B4-BE49-F238E27FC236}">
                <a16:creationId xmlns:a16="http://schemas.microsoft.com/office/drawing/2014/main" id="{DDB9977D-3886-BF65-0721-FF6333760F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4763" y="5435384"/>
            <a:ext cx="963118" cy="9631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14" name="Picture 90">
            <a:extLst>
              <a:ext uri="{FF2B5EF4-FFF2-40B4-BE49-F238E27FC236}">
                <a16:creationId xmlns:a16="http://schemas.microsoft.com/office/drawing/2014/main" id="{80618CF3-CA80-E5FF-9CF2-54855D7FF6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13035" y="5191621"/>
            <a:ext cx="1025303" cy="7675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16" name="Picture 92">
            <a:extLst>
              <a:ext uri="{FF2B5EF4-FFF2-40B4-BE49-F238E27FC236}">
                <a16:creationId xmlns:a16="http://schemas.microsoft.com/office/drawing/2014/main" id="{C2010AF9-4EF1-41F3-5B38-4FD56810FF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6322" y="4732651"/>
            <a:ext cx="1281309" cy="787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18" name="Picture 94">
            <a:extLst>
              <a:ext uri="{FF2B5EF4-FFF2-40B4-BE49-F238E27FC236}">
                <a16:creationId xmlns:a16="http://schemas.microsoft.com/office/drawing/2014/main" id="{C18A7E17-945C-AFA7-1E10-734E68D55E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78128" y="4691565"/>
            <a:ext cx="1387095" cy="34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0" name="Picture 96">
            <a:extLst>
              <a:ext uri="{FF2B5EF4-FFF2-40B4-BE49-F238E27FC236}">
                <a16:creationId xmlns:a16="http://schemas.microsoft.com/office/drawing/2014/main" id="{CD815BD7-5A45-8723-CF13-0BC80DCF37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75645" y="5271005"/>
            <a:ext cx="1770557" cy="3855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2" name="Picture 98">
            <a:extLst>
              <a:ext uri="{FF2B5EF4-FFF2-40B4-BE49-F238E27FC236}">
                <a16:creationId xmlns:a16="http://schemas.microsoft.com/office/drawing/2014/main" id="{1226504A-1505-BE66-92BA-3CFB61F87A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1875" y="5835643"/>
            <a:ext cx="1067260" cy="552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4" name="Picture 100">
            <a:extLst>
              <a:ext uri="{FF2B5EF4-FFF2-40B4-BE49-F238E27FC236}">
                <a16:creationId xmlns:a16="http://schemas.microsoft.com/office/drawing/2014/main" id="{E9A82B2F-F677-1322-008C-CD31EAC4076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9846" y="4534889"/>
            <a:ext cx="1084090" cy="755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" name="Picture 102">
            <a:extLst>
              <a:ext uri="{FF2B5EF4-FFF2-40B4-BE49-F238E27FC236}">
                <a16:creationId xmlns:a16="http://schemas.microsoft.com/office/drawing/2014/main" id="{F2F967E2-01CE-1534-8E52-00BF718FEB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7704" y="5753685"/>
            <a:ext cx="890467" cy="633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8" name="Picture 104">
            <a:extLst>
              <a:ext uri="{FF2B5EF4-FFF2-40B4-BE49-F238E27FC236}">
                <a16:creationId xmlns:a16="http://schemas.microsoft.com/office/drawing/2014/main" id="{48565A06-0BCD-8D17-3E26-3E04094BC8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44024" y="979984"/>
            <a:ext cx="1833798" cy="360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30" name="Picture 106">
            <a:extLst>
              <a:ext uri="{FF2B5EF4-FFF2-40B4-BE49-F238E27FC236}">
                <a16:creationId xmlns:a16="http://schemas.microsoft.com/office/drawing/2014/main" id="{B5C96685-7DF6-CC54-C488-C31A8F2267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5824" y="6057311"/>
            <a:ext cx="1149440" cy="255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32" name="Picture 108">
            <a:extLst>
              <a:ext uri="{FF2B5EF4-FFF2-40B4-BE49-F238E27FC236}">
                <a16:creationId xmlns:a16="http://schemas.microsoft.com/office/drawing/2014/main" id="{047A1F68-BD08-9F6E-334D-379957C19C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5152" y="1677888"/>
            <a:ext cx="1627160" cy="549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34" name="Picture 110">
            <a:extLst>
              <a:ext uri="{FF2B5EF4-FFF2-40B4-BE49-F238E27FC236}">
                <a16:creationId xmlns:a16="http://schemas.microsoft.com/office/drawing/2014/main" id="{F5AAB7B1-5793-799D-F706-69C2F2F0B4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6567" y="1361547"/>
            <a:ext cx="763168" cy="807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681798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5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1.53899999999999992362E+00&quot;&gt;&lt;m_msothmcolidx val=&quot;0&quot;/&gt;&lt;m_rgb r=&quot;26&quot; g=&quot;46&quot; b=&quot;53&quot;/&gt;&lt;/elem&gt;&lt;elem m_fUsage=&quot;1.00000000000000000000E+00&quot;&gt;&lt;m_msothmcolidx val=&quot;0&quot;/&gt;&lt;m_rgb r=&quot;30&quot; g=&quot;88&quot; b=&quot;9A&quot;/&gt;&lt;/elem&gt;&lt;elem m_fUsage=&quot;9.00000000000000022204E-01&quot;&gt;&lt;m_msothmcolidx val=&quot;0&quot;/&gt;&lt;m_rgb r=&quot;91&quot; g=&quot;D0&quot; b=&quot;DD&quot;/&gt;&lt;/elem&gt;&lt;/m_vecMRU&gt;&lt;/m_mruColor&gt;&lt;m_eweekdayFirstOfWeek val=&quot;2&quot;/&gt;&lt;m_eweekdayFirstOfWorkweek val=&quot;1&quot;/&gt;&lt;m_eweekdayFirstOfWeekend val=&quot;6&quot;/&gt;&lt;/CPresentation&gt;&lt;/root&gt;"/>
  <p:tag name="THINKCELLUNDODONOTDELETE" val="0"/>
  <p:tag name="LASTSLIDEVIEWED" val="2147475427,4,Tackling Operational challenges will be a key success driver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ESA_Presentation_CLEAR">
  <a:themeElements>
    <a:clrScheme name="ESA Presentation 2020 Light">
      <a:dk1>
        <a:srgbClr val="003249"/>
      </a:dk1>
      <a:lt1>
        <a:srgbClr val="FEFFFF"/>
      </a:lt1>
      <a:dk2>
        <a:srgbClr val="335E6E"/>
      </a:dk2>
      <a:lt2>
        <a:srgbClr val="E7E8E3"/>
      </a:lt2>
      <a:accent1>
        <a:srgbClr val="75C8AE"/>
      </a:accent1>
      <a:accent2>
        <a:srgbClr val="F06669"/>
      </a:accent2>
      <a:accent3>
        <a:srgbClr val="FFCC4D"/>
      </a:accent3>
      <a:accent4>
        <a:srgbClr val="6DCFF6"/>
      </a:accent4>
      <a:accent5>
        <a:srgbClr val="8096A6"/>
      </a:accent5>
      <a:accent6>
        <a:srgbClr val="E7E8E3"/>
      </a:accent6>
      <a:hlink>
        <a:srgbClr val="009BDA"/>
      </a:hlink>
      <a:folHlink>
        <a:srgbClr val="75C8A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dirty="0">
            <a:solidFill>
              <a:srgbClr val="8197A6"/>
            </a:solidFill>
            <a:latin typeface="Arial" panose="020B0604020202020204" pitchFamily="34" charset="0"/>
            <a:ea typeface="MS PGothic" pitchFamily="34" charset="-128"/>
            <a:cs typeface="Arial" panose="020B0604020202020204" pitchFamily="34" charset="0"/>
          </a:defRPr>
        </a:defPPr>
      </a:lstStyle>
    </a:txDef>
  </a:objectDefaults>
  <a:extraClrSchemeLst>
    <a:extraClrScheme>
      <a:clrScheme name="Esa presentation 1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338D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AAADC5"/>
        </a:accent5>
        <a:accent6>
          <a:srgbClr val="00783B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2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98DB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AACAEA"/>
        </a:accent5>
        <a:accent6>
          <a:srgbClr val="00783B"/>
        </a:accent6>
        <a:hlink>
          <a:srgbClr val="E37222"/>
        </a:hlink>
        <a:folHlink>
          <a:srgbClr val="00338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3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8542"/>
        </a:accent1>
        <a:accent2>
          <a:srgbClr val="003397"/>
        </a:accent2>
        <a:accent3>
          <a:srgbClr val="FFFFFF"/>
        </a:accent3>
        <a:accent4>
          <a:srgbClr val="404246"/>
        </a:accent4>
        <a:accent5>
          <a:srgbClr val="AAC2B0"/>
        </a:accent5>
        <a:accent6>
          <a:srgbClr val="002D88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4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E37222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EFBCAB"/>
        </a:accent5>
        <a:accent6>
          <a:srgbClr val="00783B"/>
        </a:accent6>
        <a:hlink>
          <a:srgbClr val="00338D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5">
        <a:dk1>
          <a:srgbClr val="4D4F53"/>
        </a:dk1>
        <a:lt1>
          <a:srgbClr val="FFFFFF"/>
        </a:lt1>
        <a:dk2>
          <a:srgbClr val="00338D"/>
        </a:dk2>
        <a:lt2>
          <a:srgbClr val="000000"/>
        </a:lt2>
        <a:accent1>
          <a:srgbClr val="D0103A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E4AAAE"/>
        </a:accent5>
        <a:accent6>
          <a:srgbClr val="00783B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6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338D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ADC5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7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98DB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CAEA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8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8542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C2B0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9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E37222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EFBCAB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10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D0103A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E4AAAE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11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8B8D8E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C4C5C6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20_ESA_Presentation.potx" id="{3960ED60-8A23-46C4-B339-32CD106C96D9}" vid="{FD0E5E75-7717-46C2-B7DD-6B9340E741A3}"/>
    </a:ext>
  </a:extLst>
</a:theme>
</file>

<file path=ppt/theme/theme2.xml><?xml version="1.0" encoding="utf-8"?>
<a:theme xmlns:a="http://schemas.openxmlformats.org/drawingml/2006/main" name="ESA_Presentation_DARK">
  <a:themeElements>
    <a:clrScheme name="ESA Presentation 2020 Dark">
      <a:dk1>
        <a:srgbClr val="003249"/>
      </a:dk1>
      <a:lt1>
        <a:srgbClr val="FEFFFF"/>
      </a:lt1>
      <a:dk2>
        <a:srgbClr val="335E6E"/>
      </a:dk2>
      <a:lt2>
        <a:srgbClr val="E7E8E3"/>
      </a:lt2>
      <a:accent1>
        <a:srgbClr val="00AE9C"/>
      </a:accent1>
      <a:accent2>
        <a:srgbClr val="EC1A2F"/>
      </a:accent2>
      <a:accent3>
        <a:srgbClr val="FBAB18"/>
      </a:accent3>
      <a:accent4>
        <a:srgbClr val="009BDA"/>
      </a:accent4>
      <a:accent5>
        <a:srgbClr val="8096A6"/>
      </a:accent5>
      <a:accent6>
        <a:srgbClr val="E7E8E3"/>
      </a:accent6>
      <a:hlink>
        <a:srgbClr val="6DCFF6"/>
      </a:hlink>
      <a:folHlink>
        <a:srgbClr val="009B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dirty="0">
            <a:solidFill>
              <a:srgbClr val="8197A6"/>
            </a:solidFill>
            <a:latin typeface="Arial" panose="020B0604020202020204" pitchFamily="34" charset="0"/>
            <a:ea typeface="MS PGothic" pitchFamily="34" charset="-128"/>
            <a:cs typeface="Arial" panose="020B0604020202020204" pitchFamily="34" charset="0"/>
          </a:defRPr>
        </a:defPPr>
      </a:lstStyle>
    </a:txDef>
  </a:objectDefaults>
  <a:extraClrSchemeLst>
    <a:extraClrScheme>
      <a:clrScheme name="Esa presentation 1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338D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AAADC5"/>
        </a:accent5>
        <a:accent6>
          <a:srgbClr val="00783B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2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98DB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AACAEA"/>
        </a:accent5>
        <a:accent6>
          <a:srgbClr val="00783B"/>
        </a:accent6>
        <a:hlink>
          <a:srgbClr val="E37222"/>
        </a:hlink>
        <a:folHlink>
          <a:srgbClr val="00338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3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8542"/>
        </a:accent1>
        <a:accent2>
          <a:srgbClr val="003397"/>
        </a:accent2>
        <a:accent3>
          <a:srgbClr val="FFFFFF"/>
        </a:accent3>
        <a:accent4>
          <a:srgbClr val="404246"/>
        </a:accent4>
        <a:accent5>
          <a:srgbClr val="AAC2B0"/>
        </a:accent5>
        <a:accent6>
          <a:srgbClr val="002D88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4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E37222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EFBCAB"/>
        </a:accent5>
        <a:accent6>
          <a:srgbClr val="00783B"/>
        </a:accent6>
        <a:hlink>
          <a:srgbClr val="00338D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5">
        <a:dk1>
          <a:srgbClr val="4D4F53"/>
        </a:dk1>
        <a:lt1>
          <a:srgbClr val="FFFFFF"/>
        </a:lt1>
        <a:dk2>
          <a:srgbClr val="00338D"/>
        </a:dk2>
        <a:lt2>
          <a:srgbClr val="000000"/>
        </a:lt2>
        <a:accent1>
          <a:srgbClr val="D0103A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E4AAAE"/>
        </a:accent5>
        <a:accent6>
          <a:srgbClr val="00783B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6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338D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ADC5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7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98DB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CAEA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8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8542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C2B0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9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E37222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EFBCAB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10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D0103A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E4AAAE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11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8B8D8E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C4C5C6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20_ESA_Presentation.potx" id="{3960ED60-8A23-46C4-B339-32CD106C96D9}" vid="{6AA67823-AB11-4C2B-8D34-BC63FAC8D624}"/>
    </a:ext>
  </a:extLst>
</a:theme>
</file>

<file path=ppt/theme/theme3.xml><?xml version="1.0" encoding="utf-8"?>
<a:theme xmlns:a="http://schemas.openxmlformats.org/drawingml/2006/main" name="ESA_Presentation_CLEAR">
  <a:themeElements>
    <a:clrScheme name="ESA Presentation 2020 Light">
      <a:dk1>
        <a:srgbClr val="003249"/>
      </a:dk1>
      <a:lt1>
        <a:srgbClr val="FEFFFF"/>
      </a:lt1>
      <a:dk2>
        <a:srgbClr val="335E6E"/>
      </a:dk2>
      <a:lt2>
        <a:srgbClr val="E7E8E3"/>
      </a:lt2>
      <a:accent1>
        <a:srgbClr val="75C8AE"/>
      </a:accent1>
      <a:accent2>
        <a:srgbClr val="F06669"/>
      </a:accent2>
      <a:accent3>
        <a:srgbClr val="FFCC4D"/>
      </a:accent3>
      <a:accent4>
        <a:srgbClr val="6DCFF6"/>
      </a:accent4>
      <a:accent5>
        <a:srgbClr val="8096A6"/>
      </a:accent5>
      <a:accent6>
        <a:srgbClr val="E7E8E3"/>
      </a:accent6>
      <a:hlink>
        <a:srgbClr val="009BDA"/>
      </a:hlink>
      <a:folHlink>
        <a:srgbClr val="75C8A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dirty="0">
            <a:solidFill>
              <a:srgbClr val="8197A6"/>
            </a:solidFill>
            <a:latin typeface="Arial" panose="020B0604020202020204" pitchFamily="34" charset="0"/>
            <a:ea typeface="MS PGothic" pitchFamily="34" charset="-128"/>
            <a:cs typeface="Arial" panose="020B0604020202020204" pitchFamily="34" charset="0"/>
          </a:defRPr>
        </a:defPPr>
      </a:lstStyle>
    </a:txDef>
  </a:objectDefaults>
  <a:extraClrSchemeLst>
    <a:extraClrScheme>
      <a:clrScheme name="Esa presentation 1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338D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AAADC5"/>
        </a:accent5>
        <a:accent6>
          <a:srgbClr val="00783B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2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98DB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AACAEA"/>
        </a:accent5>
        <a:accent6>
          <a:srgbClr val="00783B"/>
        </a:accent6>
        <a:hlink>
          <a:srgbClr val="E37222"/>
        </a:hlink>
        <a:folHlink>
          <a:srgbClr val="00338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3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8542"/>
        </a:accent1>
        <a:accent2>
          <a:srgbClr val="003397"/>
        </a:accent2>
        <a:accent3>
          <a:srgbClr val="FFFFFF"/>
        </a:accent3>
        <a:accent4>
          <a:srgbClr val="404246"/>
        </a:accent4>
        <a:accent5>
          <a:srgbClr val="AAC2B0"/>
        </a:accent5>
        <a:accent6>
          <a:srgbClr val="002D88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4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E37222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EFBCAB"/>
        </a:accent5>
        <a:accent6>
          <a:srgbClr val="00783B"/>
        </a:accent6>
        <a:hlink>
          <a:srgbClr val="00338D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5">
        <a:dk1>
          <a:srgbClr val="4D4F53"/>
        </a:dk1>
        <a:lt1>
          <a:srgbClr val="FFFFFF"/>
        </a:lt1>
        <a:dk2>
          <a:srgbClr val="00338D"/>
        </a:dk2>
        <a:lt2>
          <a:srgbClr val="000000"/>
        </a:lt2>
        <a:accent1>
          <a:srgbClr val="D0103A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E4AAAE"/>
        </a:accent5>
        <a:accent6>
          <a:srgbClr val="00783B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6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338D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ADC5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7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98DB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CAEA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8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8542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C2B0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9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E37222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EFBCAB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10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D0103A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E4AAAE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11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8B8D8E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C4C5C6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20_ESA_Presentation.potx" id="{3960ED60-8A23-46C4-B339-32CD106C96D9}" vid="{FD0E5E75-7717-46C2-B7DD-6B9340E741A3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6A7FBAD53447740AF2F6F3466FECB12" ma:contentTypeVersion="9" ma:contentTypeDescription="Create a new document." ma:contentTypeScope="" ma:versionID="75bcdc782f45fa54a8a3075fbb1f4ca1">
  <xsd:schema xmlns:xsd="http://www.w3.org/2001/XMLSchema" xmlns:xs="http://www.w3.org/2001/XMLSchema" xmlns:p="http://schemas.microsoft.com/office/2006/metadata/properties" xmlns:ns2="631addcf-6fba-43a6-b7fa-b6e1965b398b" xmlns:ns3="848258b2-4be1-4f83-9d2e-7519d0857068" targetNamespace="http://schemas.microsoft.com/office/2006/metadata/properties" ma:root="true" ma:fieldsID="893931e642f862338292e13b4437b5e9" ns2:_="" ns3:_="">
    <xsd:import namespace="631addcf-6fba-43a6-b7fa-b6e1965b398b"/>
    <xsd:import namespace="848258b2-4be1-4f83-9d2e-7519d085706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1addcf-6fba-43a6-b7fa-b6e1965b398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8258b2-4be1-4f83-9d2e-7519d0857068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9735C0B-12F6-4412-B9D8-7CE115398633}">
  <ds:schemaRefs>
    <ds:schemaRef ds:uri="http://schemas.microsoft.com/office/infopath/2007/PartnerControls"/>
    <ds:schemaRef ds:uri="http://purl.org/dc/dcmitype/"/>
    <ds:schemaRef ds:uri="631addcf-6fba-43a6-b7fa-b6e1965b398b"/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http://schemas.microsoft.com/office/2006/metadata/properties"/>
    <ds:schemaRef ds:uri="848258b2-4be1-4f83-9d2e-7519d0857068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B0831DA7-886A-4E03-80CD-708BE862F95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DCB8C20-91A0-4B2A-94DF-890F38C07B37}"/>
</file>

<file path=docMetadata/LabelInfo.xml><?xml version="1.0" encoding="utf-8"?>
<clbl:labelList xmlns:clbl="http://schemas.microsoft.com/office/2020/mipLabelMetadata">
  <clbl:label id="{3976fa30-1907-4356-8241-62ea5e1c0256}" enabled="1" method="Standard" siteId="{9a5cacd0-2bef-4dd7-ac5c-7ebe1f54f495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8493</TotalTime>
  <Words>848</Words>
  <Application>Microsoft Office PowerPoint</Application>
  <PresentationFormat>Widescreen</PresentationFormat>
  <Paragraphs>158</Paragraphs>
  <Slides>12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12</vt:i4>
      </vt:variant>
    </vt:vector>
  </HeadingPairs>
  <TitlesOfParts>
    <vt:vector size="15" baseType="lpstr">
      <vt:lpstr>1_ESA_Presentation_CLEAR</vt:lpstr>
      <vt:lpstr>ESA_Presentation_DARK</vt:lpstr>
      <vt:lpstr>ESA_Presentation_CLEAR</vt:lpstr>
      <vt:lpstr>PowerPoint Presentation</vt:lpstr>
      <vt:lpstr>PowerPoint Presentation</vt:lpstr>
      <vt:lpstr>PowerPoint Presentation</vt:lpstr>
      <vt:lpstr>ESA contributions in the EO company life-cycle</vt:lpstr>
      <vt:lpstr>ESA as a Partner – InCubed - Key Characteristics</vt:lpstr>
      <vt:lpstr>ESA as a Partner – InCubed – What ESA offers</vt:lpstr>
      <vt:lpstr>InCubed role impact to industry</vt:lpstr>
      <vt:lpstr>InCubed Domains</vt:lpstr>
      <vt:lpstr>Supported InCubed Downstream Companies</vt:lpstr>
      <vt:lpstr>Supported InCubed Upstream Companies</vt:lpstr>
      <vt:lpstr>InCubed impacts to the EO commercial industry  InCubed, ScaleUp, and CCM synergetic pipelin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PowerPoint Presentation</dc:subject>
  <dc:creator>Annika</dc:creator>
  <cp:lastModifiedBy>Michele Castorina</cp:lastModifiedBy>
  <cp:revision>11</cp:revision>
  <cp:lastPrinted>2023-06-02T10:36:25Z</cp:lastPrinted>
  <dcterms:created xsi:type="dcterms:W3CDTF">2023-02-20T18:15:02Z</dcterms:created>
  <dcterms:modified xsi:type="dcterms:W3CDTF">2023-10-29T13:09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6A7FBAD53447740AF2F6F3466FECB12</vt:lpwstr>
  </property>
  <property fmtid="{D5CDD505-2E9C-101B-9397-08002B2CF9AE}" pid="3" name="MediaServiceImageTags">
    <vt:lpwstr/>
  </property>
  <property fmtid="{D5CDD505-2E9C-101B-9397-08002B2CF9AE}" pid="4" name="MSIP_Label_3976fa30-1907-4356-8241-62ea5e1c0256_Enabled">
    <vt:lpwstr>true</vt:lpwstr>
  </property>
  <property fmtid="{D5CDD505-2E9C-101B-9397-08002B2CF9AE}" pid="5" name="MSIP_Label_3976fa30-1907-4356-8241-62ea5e1c0256_SetDate">
    <vt:lpwstr>2023-03-15T19:26:49Z</vt:lpwstr>
  </property>
  <property fmtid="{D5CDD505-2E9C-101B-9397-08002B2CF9AE}" pid="6" name="MSIP_Label_3976fa30-1907-4356-8241-62ea5e1c0256_Method">
    <vt:lpwstr>Standard</vt:lpwstr>
  </property>
  <property fmtid="{D5CDD505-2E9C-101B-9397-08002B2CF9AE}" pid="7" name="MSIP_Label_3976fa30-1907-4356-8241-62ea5e1c0256_Name">
    <vt:lpwstr>ESA UNCLASSIFIED – For ESA Official Use Only</vt:lpwstr>
  </property>
  <property fmtid="{D5CDD505-2E9C-101B-9397-08002B2CF9AE}" pid="8" name="MSIP_Label_3976fa30-1907-4356-8241-62ea5e1c0256_SiteId">
    <vt:lpwstr>9a5cacd0-2bef-4dd7-ac5c-7ebe1f54f495</vt:lpwstr>
  </property>
  <property fmtid="{D5CDD505-2E9C-101B-9397-08002B2CF9AE}" pid="9" name="MSIP_Label_3976fa30-1907-4356-8241-62ea5e1c0256_ActionId">
    <vt:lpwstr>cd09551d-8d7a-407c-9d20-95414466a40b</vt:lpwstr>
  </property>
  <property fmtid="{D5CDD505-2E9C-101B-9397-08002B2CF9AE}" pid="10" name="MSIP_Label_3976fa30-1907-4356-8241-62ea5e1c0256_ContentBits">
    <vt:lpwstr>0</vt:lpwstr>
  </property>
  <property fmtid="{D5CDD505-2E9C-101B-9397-08002B2CF9AE}" pid="11" name="Image Tags">
    <vt:lpwstr/>
  </property>
  <property fmtid="{D5CDD505-2E9C-101B-9397-08002B2CF9AE}" pid="12" name="Unified Compliance Policy UI Action">
    <vt:lpwstr/>
  </property>
  <property fmtid="{D5CDD505-2E9C-101B-9397-08002B2CF9AE}" pid="13" name="Unified Compliance Policy Properties">
    <vt:lpwstr/>
  </property>
</Properties>
</file>